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"/>
  </p:notesMasterIdLst>
  <p:sldIdLst>
    <p:sldId id="6866" r:id="rId2"/>
  </p:sldIdLst>
  <p:sldSz cx="12190413" cy="6859588"/>
  <p:notesSz cx="7010400" cy="9296400"/>
  <p:custDataLst>
    <p:tags r:id="rId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55522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1110447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1665671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222089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2776118" algn="l" defTabSz="1110447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3331342" algn="l" defTabSz="1110447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3886566" algn="l" defTabSz="1110447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4441789" algn="l" defTabSz="1110447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zek Kryt" initials="FK" lastIdx="3" clrIdx="0">
    <p:extLst/>
  </p:cmAuthor>
  <p:cmAuthor id="2" name="S Aishwarya" initials="SA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360"/>
    <a:srgbClr val="003781"/>
    <a:srgbClr val="E8E8E8"/>
    <a:srgbClr val="0988BE"/>
    <a:srgbClr val="49648C"/>
    <a:srgbClr val="D27991"/>
    <a:srgbClr val="96DCFA"/>
    <a:srgbClr val="D5F1FD"/>
    <a:srgbClr val="37BCF5"/>
    <a:srgbClr val="0988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31" autoAdjust="0"/>
    <p:restoredTop sz="95878" autoAdjust="0"/>
  </p:normalViewPr>
  <p:slideViewPr>
    <p:cSldViewPr snapToGrid="0">
      <p:cViewPr varScale="1">
        <p:scale>
          <a:sx n="70" d="100"/>
          <a:sy n="70" d="100"/>
        </p:scale>
        <p:origin x="948" y="36"/>
      </p:cViewPr>
      <p:guideLst>
        <p:guide orient="horz" pos="2160"/>
        <p:guide pos="383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882"/>
    </p:cViewPr>
  </p:sorterViewPr>
  <p:notesViewPr>
    <p:cSldViewPr snapToGrid="0">
      <p:cViewPr varScale="1">
        <p:scale>
          <a:sx n="73" d="100"/>
          <a:sy n="73" d="100"/>
        </p:scale>
        <p:origin x="3388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993772A-9883-424E-9AD3-D1F0C1E88A42}" type="datetimeFigureOut">
              <a:rPr lang="en-US" smtClean="0"/>
              <a:t>6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3091956-948B-4254-8108-3DD5E17A25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521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6D791A-E4D2-410F-A315-25E6E057230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508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3.xml"/><Relationship Id="rId7" Type="http://schemas.openxmlformats.org/officeDocument/2006/relationships/image" Target="../media/image4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7037593"/>
              </p:ext>
            </p:extLst>
          </p:nvPr>
        </p:nvGraphicFramePr>
        <p:xfrm>
          <a:off x="2163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DB621C-F072-42A4-8C1C-B28B263B5EF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 bwMode="ltGray">
          <a:xfrm>
            <a:off x="0" y="0"/>
            <a:ext cx="4841875" cy="68595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2" name="Rectangle 11"/>
          <p:cNvSpPr>
            <a:spLocks/>
          </p:cNvSpPr>
          <p:nvPr/>
        </p:nvSpPr>
        <p:spPr bwMode="gray">
          <a:xfrm>
            <a:off x="4841876" y="6929"/>
            <a:ext cx="3805237" cy="5343524"/>
          </a:xfrm>
          <a:prstGeom prst="rect">
            <a:avLst/>
          </a:prstGeom>
          <a:solidFill>
            <a:srgbClr val="D6D4D7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spcBef>
                <a:spcPts val="100"/>
              </a:spcBef>
              <a:spcAft>
                <a:spcPts val="100"/>
              </a:spcAft>
            </a:pPr>
            <a:endParaRPr lang="en-US" sz="140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08000" y="3054350"/>
            <a:ext cx="39721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1800" b="0" cap="none" baseline="0">
                <a:solidFill>
                  <a:schemeClr val="bg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508000" y="4239636"/>
            <a:ext cx="39721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800" baseline="0" noProof="0" dirty="0">
                <a:solidFill>
                  <a:schemeClr val="bg1"/>
                </a:solidFill>
                <a:latin typeface="+mn-lt"/>
              </a:rPr>
              <a:t>Document</a:t>
            </a: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508000" y="4550964"/>
            <a:ext cx="397215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800" baseline="0" noProof="0" dirty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07935" y="765498"/>
            <a:ext cx="7924865" cy="135421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lang="x-none" sz="4400" b="1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946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6">
          <p15:clr>
            <a:srgbClr val="FBAE40"/>
          </p15:clr>
        </p15:guide>
        <p15:guide id="5" pos="566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555490"/>
              </p:ext>
            </p:extLst>
          </p:nvPr>
        </p:nvGraphicFramePr>
        <p:xfrm>
          <a:off x="2163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C617D1-E806-44EF-8D58-8E5F28338C6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platzhalter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22" y="0"/>
            <a:ext cx="7361237" cy="6859588"/>
          </a:xfrm>
          <a:prstGeom prst="rect">
            <a:avLst/>
          </a:prstGeom>
        </p:spPr>
      </p:pic>
      <p:sp>
        <p:nvSpPr>
          <p:cNvPr id="4" name="Rectangle 3"/>
          <p:cNvSpPr>
            <a:spLocks/>
          </p:cNvSpPr>
          <p:nvPr/>
        </p:nvSpPr>
        <p:spPr bwMode="gray">
          <a:xfrm>
            <a:off x="7361237" y="0"/>
            <a:ext cx="4345513" cy="4839244"/>
          </a:xfrm>
          <a:prstGeom prst="rect">
            <a:avLst/>
          </a:prstGeom>
          <a:solidFill>
            <a:srgbClr val="C7D0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624763" y="3308350"/>
            <a:ext cx="397215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lang="x-none" sz="1600" b="0" cap="none" baseline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24" name="Document type" hidden="1"/>
          <p:cNvSpPr txBox="1">
            <a:spLocks noChangeArrowheads="1"/>
          </p:cNvSpPr>
          <p:nvPr/>
        </p:nvSpPr>
        <p:spPr bwMode="gray">
          <a:xfrm>
            <a:off x="7624763" y="4064120"/>
            <a:ext cx="3972152" cy="246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ocument</a:t>
            </a:r>
          </a:p>
        </p:txBody>
      </p:sp>
      <p:sp>
        <p:nvSpPr>
          <p:cNvPr id="25" name="Date" hidden="1"/>
          <p:cNvSpPr txBox="1">
            <a:spLocks noChangeArrowheads="1"/>
          </p:cNvSpPr>
          <p:nvPr/>
        </p:nvSpPr>
        <p:spPr bwMode="gray">
          <a:xfrm>
            <a:off x="7624763" y="4550966"/>
            <a:ext cx="3972152" cy="246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aseline="0" noProof="0" dirty="0">
                <a:solidFill>
                  <a:schemeClr val="tx1"/>
                </a:solidFill>
                <a:latin typeface="+mn-lt"/>
              </a:rPr>
              <a:t>Date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6096000" y="1053498"/>
            <a:ext cx="5500915" cy="203132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lang="x-none" sz="4400" b="1" cap="all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5024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1">
          <p15:clr>
            <a:srgbClr val="FBAE40"/>
          </p15:clr>
        </p15:guide>
        <p15:guide id="3">
          <p15:clr>
            <a:srgbClr val="FBAE40"/>
          </p15:clr>
        </p15:guide>
        <p15:guide id="4" pos="5766">
          <p15:clr>
            <a:srgbClr val="FBAE40"/>
          </p15:clr>
        </p15:guide>
        <p15:guide id="5" pos="566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777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6" name="Grafik 8"/>
          <p:cNvPicPr>
            <a:picLocks noChangeAspect="1"/>
          </p:cNvPicPr>
          <p:nvPr/>
        </p:nvPicPr>
        <p:blipFill>
          <a:blip r:embed="rId6">
            <a:alphaModFix amt="45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207" y="550109"/>
            <a:ext cx="6095206" cy="63094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762250"/>
            <a:ext cx="4173909" cy="3077766"/>
          </a:xfrm>
        </p:spPr>
        <p:txBody>
          <a:bodyPr lIns="144000" tIns="0" rIns="0" anchor="t" anchorCtr="0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00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2309853"/>
            <a:ext cx="7618413" cy="553998"/>
          </a:xfrm>
          <a:prstGeom prst="rect">
            <a:avLst/>
          </a:prstGeom>
        </p:spPr>
        <p:txBody>
          <a:bodyPr tIns="0" bIns="0" anchor="b">
            <a:spAutoFit/>
          </a:bodyPr>
          <a:lstStyle>
            <a:lvl1pPr marL="0" algn="l" defTabSz="1219170" rtl="0" eaLnBrk="1" latinLnBrk="0" hangingPunct="1">
              <a:defRPr lang="de-DE" sz="36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6606873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20145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71A9BE-5FD9-48EA-BCCA-3C5A5D8C6AA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0" y="0"/>
            <a:ext cx="8649691" cy="768350"/>
          </a:xfrm>
          <a:prstGeom prst="rect">
            <a:avLst/>
          </a:prstGeom>
          <a:solidFill>
            <a:srgbClr val="C7D0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07934" y="515937"/>
            <a:ext cx="1072231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61396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15283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140ADC5-7780-451F-AC55-F0592F3ED9E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0" y="0"/>
            <a:ext cx="1651000" cy="5842775"/>
          </a:xfrm>
          <a:prstGeom prst="rect">
            <a:avLst/>
          </a:prstGeom>
          <a:solidFill>
            <a:srgbClr val="C7D0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07934" y="1056479"/>
            <a:ext cx="3086166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4400"/>
            </a:lvl1pPr>
          </a:lstStyle>
          <a:p>
            <a:pPr lvl="0" latinLnBrk="0"/>
            <a:r>
              <a:rPr lang="en-US" dirty="0"/>
              <a:t>Click to edit title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56927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B8E6D7-9717-431C-BE70-75E1538A0C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3208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B8E6D7-9717-431C-BE70-75E1538A0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208227-4310-44E8-81B7-CB70EE7A12D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223FA9-0892-4DE1-AE82-503F9F565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4811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tags" Target="../tags/tag29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93283803"/>
              </p:ext>
            </p:extLst>
          </p:nvPr>
        </p:nvGraphicFramePr>
        <p:xfrm>
          <a:off x="0" y="2"/>
          <a:ext cx="215950" cy="162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5950" cy="162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2"/>
            <a:ext cx="215950" cy="162013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07934" y="515937"/>
            <a:ext cx="1067752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14350" y="260350"/>
            <a:ext cx="4344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539750" algn="l"/>
              </a:tabLst>
            </a:pPr>
            <a:r>
              <a:rPr lang="en-US" sz="1000" cap="none" baseline="0" dirty="0">
                <a:solidFill>
                  <a:schemeClr val="tx1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07934" y="1025650"/>
            <a:ext cx="11187178" cy="2462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539750" algn="l"/>
              </a:tabLst>
              <a:defRPr lang="x-none"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7934" y="2472347"/>
            <a:ext cx="11187180" cy="12313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noProof="0" dirty="0"/>
              <a:t>Click to edit Master text styles</a:t>
            </a:r>
          </a:p>
          <a:p>
            <a:pPr lvl="1" latinLnBrk="0"/>
            <a:r>
              <a:rPr lang="en-US" noProof="0" dirty="0"/>
              <a:t>Second level</a:t>
            </a:r>
          </a:p>
          <a:p>
            <a:pPr lvl="2" latinLnBrk="0"/>
            <a:r>
              <a:rPr lang="en-US" noProof="0" dirty="0"/>
              <a:t>Third level</a:t>
            </a:r>
          </a:p>
          <a:p>
            <a:pPr lvl="3" latinLnBrk="0"/>
            <a:r>
              <a:rPr lang="en-US" noProof="0" dirty="0"/>
              <a:t>Fourth level</a:t>
            </a:r>
          </a:p>
          <a:p>
            <a:pPr lvl="4" latinLnBrk="0"/>
            <a:r>
              <a:rPr lang="en-US" noProof="0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507934" y="1851796"/>
            <a:ext cx="2227517" cy="510338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+mn-lt"/>
                </a:rPr>
                <a:t>Title</a:t>
              </a:r>
            </a:p>
            <a:p>
              <a:r>
                <a:rPr lang="en-US" sz="1600" dirty="0">
                  <a:solidFill>
                    <a:schemeClr val="tx1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gray">
          <a:xfrm>
            <a:off x="11385808" y="6494400"/>
            <a:ext cx="309306" cy="12314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000000"/>
                </a:solidFill>
              </a:rPr>
              <a:pPr algn="r"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507933" y="6208190"/>
            <a:ext cx="1118717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507933" y="6351123"/>
            <a:ext cx="1118717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81">
              <a:tabLst/>
            </a:pPr>
            <a:r>
              <a:rPr lang="en-US" sz="800" dirty="0">
                <a:solidFill>
                  <a:srgbClr val="000000"/>
                </a:solidFill>
                <a:latin typeface="+mn-lt"/>
              </a:rPr>
              <a:t>Source: Source</a:t>
            </a:r>
          </a:p>
        </p:txBody>
      </p:sp>
      <p:grpSp>
        <p:nvGrpSpPr>
          <p:cNvPr id="108" name="Sticker" hidden="1"/>
          <p:cNvGrpSpPr/>
          <p:nvPr/>
        </p:nvGrpSpPr>
        <p:grpSpPr bwMode="gray">
          <a:xfrm>
            <a:off x="11028177" y="671566"/>
            <a:ext cx="666936" cy="241503"/>
            <a:chOff x="8073926" y="285750"/>
            <a:chExt cx="666849" cy="241447"/>
          </a:xfrm>
        </p:grpSpPr>
        <p:sp>
          <p:nvSpPr>
            <p:cNvPr id="109" name="StickerRectangle"/>
            <p:cNvSpPr>
              <a:spLocks noChangeArrowheads="1"/>
            </p:cNvSpPr>
            <p:nvPr/>
          </p:nvSpPr>
          <p:spPr bwMode="gray">
            <a:xfrm>
              <a:off x="8073926" y="285750"/>
              <a:ext cx="666849" cy="2414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529">
                <a:buClr>
                  <a:schemeClr val="tx2"/>
                </a:buClr>
              </a:pPr>
              <a:r>
                <a:rPr lang="en-US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110" name="AutoShape 32"/>
            <p:cNvCxnSpPr>
              <a:cxnSpLocks noChangeShapeType="1"/>
              <a:stCxn id="109" idx="4"/>
              <a:endCxn id="109" idx="6"/>
            </p:cNvCxnSpPr>
            <p:nvPr/>
          </p:nvCxnSpPr>
          <p:spPr bwMode="gray">
            <a:xfrm>
              <a:off x="8073926" y="527197"/>
              <a:ext cx="66684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1" name="AutoShape 32"/>
            <p:cNvCxnSpPr>
              <a:cxnSpLocks noChangeShapeType="1"/>
              <a:stCxn id="109" idx="2"/>
              <a:endCxn id="109" idx="0"/>
            </p:cNvCxnSpPr>
            <p:nvPr userDrawn="1"/>
          </p:nvCxnSpPr>
          <p:spPr bwMode="gray">
            <a:xfrm>
              <a:off x="8073926" y="285750"/>
              <a:ext cx="66684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3" name="LegendBoxes" hidden="1"/>
          <p:cNvGrpSpPr>
            <a:grpSpLocks/>
          </p:cNvGrpSpPr>
          <p:nvPr/>
        </p:nvGrpSpPr>
        <p:grpSpPr bwMode="gray">
          <a:xfrm>
            <a:off x="10931426" y="671566"/>
            <a:ext cx="763688" cy="997182"/>
            <a:chOff x="4936" y="176"/>
            <a:chExt cx="481" cy="628"/>
          </a:xfrm>
        </p:grpSpPr>
        <p:sp>
          <p:nvSpPr>
            <p:cNvPr id="11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1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E8E8E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1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1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1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2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2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00378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</p:grpSp>
      <p:grpSp>
        <p:nvGrpSpPr>
          <p:cNvPr id="122" name="LegendLines" hidden="1"/>
          <p:cNvGrpSpPr>
            <a:grpSpLocks/>
          </p:cNvGrpSpPr>
          <p:nvPr/>
        </p:nvGrpSpPr>
        <p:grpSpPr bwMode="gray">
          <a:xfrm>
            <a:off x="10623412" y="671566"/>
            <a:ext cx="1071702" cy="730420"/>
            <a:chOff x="4750" y="176"/>
            <a:chExt cx="675" cy="460"/>
          </a:xfrm>
        </p:grpSpPr>
        <p:sp>
          <p:nvSpPr>
            <p:cNvPr id="12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2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2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tx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00" noProof="0" dirty="0">
                <a:latin typeface="+mn-lt"/>
              </a:endParaRPr>
            </a:p>
          </p:txBody>
        </p:sp>
        <p:sp>
          <p:nvSpPr>
            <p:cNvPr id="12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</p:grpSp>
      <p:grpSp>
        <p:nvGrpSpPr>
          <p:cNvPr id="129" name="LegendMoons" hidden="1"/>
          <p:cNvGrpSpPr/>
          <p:nvPr/>
        </p:nvGrpSpPr>
        <p:grpSpPr bwMode="gray">
          <a:xfrm>
            <a:off x="10864642" y="671566"/>
            <a:ext cx="830472" cy="1306819"/>
            <a:chOff x="7769225" y="2105025"/>
            <a:chExt cx="830364" cy="1306516"/>
          </a:xfrm>
        </p:grpSpPr>
        <p:grpSp>
          <p:nvGrpSpPr>
            <p:cNvPr id="130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48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E8E8E8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9" name="Arc 39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31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46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E8E8E8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7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32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44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E8E8E8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5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grpSp>
          <p:nvGrpSpPr>
            <p:cNvPr id="133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42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E8E8E8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3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  <p:sp>
          <p:nvSpPr>
            <p:cNvPr id="134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09689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35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689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36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689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37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689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sp>
          <p:nvSpPr>
            <p:cNvPr id="138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689" cy="184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529">
                <a:buClr>
                  <a:schemeClr val="tx2"/>
                </a:buClr>
              </a:pPr>
              <a:r>
                <a:rPr lang="en-US" sz="1200" noProof="0" dirty="0">
                  <a:latin typeface="+mn-lt"/>
                </a:rPr>
                <a:t>Legend</a:t>
              </a:r>
            </a:p>
          </p:txBody>
        </p:sp>
        <p:grpSp>
          <p:nvGrpSpPr>
            <p:cNvPr id="139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40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E8E8E8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  <p:sp>
            <p:nvSpPr>
              <p:cNvPr id="141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00" noProof="0" dirty="0">
                  <a:latin typeface="+mn-lt"/>
                </a:endParaRPr>
              </a:p>
            </p:txBody>
          </p:sp>
        </p:grpSp>
      </p:grpSp>
      <p:sp>
        <p:nvSpPr>
          <p:cNvPr id="62" name="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75078" y="3071272"/>
            <a:ext cx="3091388" cy="343452"/>
          </a:xfrm>
          <a:prstGeom prst="triangle">
            <a:avLst>
              <a:gd name="adj" fmla="val 50000"/>
            </a:avLst>
          </a:prstGeom>
          <a:solidFill>
            <a:srgbClr val="E8E8E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eaLnBrk="1"/>
            <a:endParaRPr lang="en-US" sz="1600" dirty="0">
              <a:latin typeface="+mn-lt"/>
            </a:endParaRPr>
          </a:p>
        </p:txBody>
      </p:sp>
      <p:sp>
        <p:nvSpPr>
          <p:cNvPr id="64" name="Bracket" hidden="1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6480793" y="3468952"/>
            <a:ext cx="180965" cy="182922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1689"/>
              <a:gd name="connsiteY0" fmla="*/ 2578041 h 2578041"/>
              <a:gd name="connsiteX1" fmla="*/ 1689 w 1689"/>
              <a:gd name="connsiteY1" fmla="*/ 0 h 2578041"/>
              <a:gd name="connsiteX0" fmla="*/ 0 w 1689"/>
              <a:gd name="connsiteY0" fmla="*/ 2578041 h 2578041"/>
              <a:gd name="connsiteX1" fmla="*/ 1689 w 1689"/>
              <a:gd name="connsiteY1" fmla="*/ 0 h 2578041"/>
              <a:gd name="connsiteX2" fmla="*/ 65 w 1689"/>
              <a:gd name="connsiteY2" fmla="*/ 2578041 h 2578041"/>
              <a:gd name="connsiteX0" fmla="*/ 0 w 1689"/>
              <a:gd name="connsiteY0" fmla="*/ 2578041 h 3416241"/>
              <a:gd name="connsiteX1" fmla="*/ 1689 w 1689"/>
              <a:gd name="connsiteY1" fmla="*/ 0 h 3416241"/>
              <a:gd name="connsiteX2" fmla="*/ 65 w 1689"/>
              <a:gd name="connsiteY2" fmla="*/ 2578041 h 3416241"/>
              <a:gd name="connsiteX3" fmla="*/ 65 w 1689"/>
              <a:gd name="connsiteY3" fmla="*/ 3416241 h 3416241"/>
              <a:gd name="connsiteX0" fmla="*/ 0 w 1689"/>
              <a:gd name="connsiteY0" fmla="*/ 2578041 h 3492441"/>
              <a:gd name="connsiteX1" fmla="*/ 1689 w 1689"/>
              <a:gd name="connsiteY1" fmla="*/ 0 h 3492441"/>
              <a:gd name="connsiteX2" fmla="*/ 65 w 1689"/>
              <a:gd name="connsiteY2" fmla="*/ 2578041 h 3492441"/>
              <a:gd name="connsiteX3" fmla="*/ 65 w 1689"/>
              <a:gd name="connsiteY3" fmla="*/ 3416241 h 3492441"/>
              <a:gd name="connsiteX4" fmla="*/ 115 w 1689"/>
              <a:gd name="connsiteY4" fmla="*/ 3492441 h 3492441"/>
              <a:gd name="connsiteX0" fmla="*/ 0 w 1689"/>
              <a:gd name="connsiteY0" fmla="*/ 2578041 h 3568641"/>
              <a:gd name="connsiteX1" fmla="*/ 1689 w 1689"/>
              <a:gd name="connsiteY1" fmla="*/ 0 h 3568641"/>
              <a:gd name="connsiteX2" fmla="*/ 65 w 1689"/>
              <a:gd name="connsiteY2" fmla="*/ 2578041 h 3568641"/>
              <a:gd name="connsiteX3" fmla="*/ 65 w 1689"/>
              <a:gd name="connsiteY3" fmla="*/ 3416241 h 3568641"/>
              <a:gd name="connsiteX4" fmla="*/ 115 w 1689"/>
              <a:gd name="connsiteY4" fmla="*/ 3492441 h 3568641"/>
              <a:gd name="connsiteX5" fmla="*/ 65 w 1689"/>
              <a:gd name="connsiteY5" fmla="*/ 3568641 h 3568641"/>
              <a:gd name="connsiteX0" fmla="*/ 0 w 1689"/>
              <a:gd name="connsiteY0" fmla="*/ 2578041 h 4406841"/>
              <a:gd name="connsiteX1" fmla="*/ 1689 w 1689"/>
              <a:gd name="connsiteY1" fmla="*/ 0 h 4406841"/>
              <a:gd name="connsiteX2" fmla="*/ 65 w 1689"/>
              <a:gd name="connsiteY2" fmla="*/ 2578041 h 4406841"/>
              <a:gd name="connsiteX3" fmla="*/ 65 w 1689"/>
              <a:gd name="connsiteY3" fmla="*/ 3416241 h 4406841"/>
              <a:gd name="connsiteX4" fmla="*/ 115 w 1689"/>
              <a:gd name="connsiteY4" fmla="*/ 3492441 h 4406841"/>
              <a:gd name="connsiteX5" fmla="*/ 65 w 1689"/>
              <a:gd name="connsiteY5" fmla="*/ 3568641 h 4406841"/>
              <a:gd name="connsiteX6" fmla="*/ 65 w 1689"/>
              <a:gd name="connsiteY6" fmla="*/ 4406841 h 4406841"/>
              <a:gd name="connsiteX0" fmla="*/ 0 w 1689"/>
              <a:gd name="connsiteY0" fmla="*/ 2578041 h 4406841"/>
              <a:gd name="connsiteX1" fmla="*/ 1689 w 1689"/>
              <a:gd name="connsiteY1" fmla="*/ 0 h 4406841"/>
              <a:gd name="connsiteX2" fmla="*/ 65 w 1689"/>
              <a:gd name="connsiteY2" fmla="*/ 2578041 h 4406841"/>
              <a:gd name="connsiteX3" fmla="*/ 65 w 1689"/>
              <a:gd name="connsiteY3" fmla="*/ 3416241 h 4406841"/>
              <a:gd name="connsiteX4" fmla="*/ 115 w 1689"/>
              <a:gd name="connsiteY4" fmla="*/ 3492441 h 4406841"/>
              <a:gd name="connsiteX5" fmla="*/ 65 w 1689"/>
              <a:gd name="connsiteY5" fmla="*/ 3568641 h 4406841"/>
              <a:gd name="connsiteX6" fmla="*/ 65 w 1689"/>
              <a:gd name="connsiteY6" fmla="*/ 4406841 h 4406841"/>
              <a:gd name="connsiteX7" fmla="*/ 0 w 1689"/>
              <a:gd name="connsiteY7" fmla="*/ 4406841 h 4406841"/>
              <a:gd name="connsiteX0" fmla="*/ 0 w 1689"/>
              <a:gd name="connsiteY0" fmla="*/ 2578041 h 4406841"/>
              <a:gd name="connsiteX1" fmla="*/ 1689 w 1689"/>
              <a:gd name="connsiteY1" fmla="*/ 0 h 4406841"/>
              <a:gd name="connsiteX2" fmla="*/ 65 w 1689"/>
              <a:gd name="connsiteY2" fmla="*/ 2578041 h 4406841"/>
              <a:gd name="connsiteX3" fmla="*/ 65 w 1689"/>
              <a:gd name="connsiteY3" fmla="*/ 3416241 h 4406841"/>
              <a:gd name="connsiteX4" fmla="*/ 115 w 1689"/>
              <a:gd name="connsiteY4" fmla="*/ 3492441 h 4406841"/>
              <a:gd name="connsiteX5" fmla="*/ 65 w 1689"/>
              <a:gd name="connsiteY5" fmla="*/ 3568641 h 4406841"/>
              <a:gd name="connsiteX6" fmla="*/ 65 w 1689"/>
              <a:gd name="connsiteY6" fmla="*/ 4406841 h 4406841"/>
              <a:gd name="connsiteX7" fmla="*/ 0 w 1689"/>
              <a:gd name="connsiteY7" fmla="*/ 4406841 h 4406841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4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4 w 115"/>
              <a:gd name="connsiteY1" fmla="*/ 0 h 1828800"/>
              <a:gd name="connsiteX2" fmla="*/ 64 w 115"/>
              <a:gd name="connsiteY2" fmla="*/ 841375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65 w 114"/>
              <a:gd name="connsiteY4" fmla="*/ 990599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64 w 114"/>
              <a:gd name="connsiteY4" fmla="*/ 987425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64 w 114"/>
              <a:gd name="connsiteY4" fmla="*/ 987425 h 1828800"/>
              <a:gd name="connsiteX5" fmla="*/ 64 w 114"/>
              <a:gd name="connsiteY5" fmla="*/ 1828800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64 w 114"/>
              <a:gd name="connsiteY4" fmla="*/ 987425 h 1828800"/>
              <a:gd name="connsiteX5" fmla="*/ 64 w 114"/>
              <a:gd name="connsiteY5" fmla="*/ 1828800 h 1828800"/>
              <a:gd name="connsiteX6" fmla="*/ 0 w 114"/>
              <a:gd name="connsiteY6" fmla="*/ 1828800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64 w 114"/>
              <a:gd name="connsiteY4" fmla="*/ 987425 h 1828800"/>
              <a:gd name="connsiteX5" fmla="*/ 64 w 114"/>
              <a:gd name="connsiteY5" fmla="*/ 1828800 h 1828800"/>
              <a:gd name="connsiteX6" fmla="*/ 0 w 114"/>
              <a:gd name="connsiteY6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64 w 114"/>
              <a:gd name="connsiteY4" fmla="*/ 987425 h 1828800"/>
              <a:gd name="connsiteX5" fmla="*/ 0 w 114"/>
              <a:gd name="connsiteY5" fmla="*/ 1828800 h 1828800"/>
              <a:gd name="connsiteX0" fmla="*/ 0 w 114"/>
              <a:gd name="connsiteY0" fmla="*/ 0 h 1828800"/>
              <a:gd name="connsiteX1" fmla="*/ 64 w 114"/>
              <a:gd name="connsiteY1" fmla="*/ 0 h 1828800"/>
              <a:gd name="connsiteX2" fmla="*/ 64 w 114"/>
              <a:gd name="connsiteY2" fmla="*/ 841375 h 1828800"/>
              <a:gd name="connsiteX3" fmla="*/ 114 w 114"/>
              <a:gd name="connsiteY3" fmla="*/ 914400 h 1828800"/>
              <a:gd name="connsiteX4" fmla="*/ 0 w 114"/>
              <a:gd name="connsiteY4" fmla="*/ 1828800 h 1828800"/>
              <a:gd name="connsiteX0" fmla="*/ 0 w 64"/>
              <a:gd name="connsiteY0" fmla="*/ 0 h 1828800"/>
              <a:gd name="connsiteX1" fmla="*/ 64 w 64"/>
              <a:gd name="connsiteY1" fmla="*/ 0 h 1828800"/>
              <a:gd name="connsiteX2" fmla="*/ 64 w 64"/>
              <a:gd name="connsiteY2" fmla="*/ 841375 h 1828800"/>
              <a:gd name="connsiteX3" fmla="*/ 0 w 64"/>
              <a:gd name="connsiteY3" fmla="*/ 1828800 h 1828800"/>
              <a:gd name="connsiteX0" fmla="*/ 0 w 64"/>
              <a:gd name="connsiteY0" fmla="*/ 0 h 1828800"/>
              <a:gd name="connsiteX1" fmla="*/ 64 w 64"/>
              <a:gd name="connsiteY1" fmla="*/ 0 h 1828800"/>
              <a:gd name="connsiteX2" fmla="*/ 0 w 64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2490905"/>
              <a:gd name="connsiteY0" fmla="*/ 662105 h 662105"/>
              <a:gd name="connsiteX1" fmla="*/ 2490905 w 2490905"/>
              <a:gd name="connsiteY1" fmla="*/ 0 h 662105"/>
              <a:gd name="connsiteX0" fmla="*/ 0 w 2490905"/>
              <a:gd name="connsiteY0" fmla="*/ 662105 h 662105"/>
              <a:gd name="connsiteX1" fmla="*/ 2490905 w 2490905"/>
              <a:gd name="connsiteY1" fmla="*/ 0 h 662105"/>
              <a:gd name="connsiteX2" fmla="*/ 103189 w 2490905"/>
              <a:gd name="connsiteY2" fmla="*/ 662105 h 662105"/>
              <a:gd name="connsiteX0" fmla="*/ 0 w 2490905"/>
              <a:gd name="connsiteY0" fmla="*/ 662105 h 1500305"/>
              <a:gd name="connsiteX1" fmla="*/ 2490905 w 2490905"/>
              <a:gd name="connsiteY1" fmla="*/ 0 h 1500305"/>
              <a:gd name="connsiteX2" fmla="*/ 103189 w 2490905"/>
              <a:gd name="connsiteY2" fmla="*/ 662105 h 1500305"/>
              <a:gd name="connsiteX3" fmla="*/ 103189 w 2490905"/>
              <a:gd name="connsiteY3" fmla="*/ 1500305 h 1500305"/>
              <a:gd name="connsiteX0" fmla="*/ 0 w 2490905"/>
              <a:gd name="connsiteY0" fmla="*/ 662105 h 1576505"/>
              <a:gd name="connsiteX1" fmla="*/ 2490905 w 2490905"/>
              <a:gd name="connsiteY1" fmla="*/ 0 h 1576505"/>
              <a:gd name="connsiteX2" fmla="*/ 103189 w 2490905"/>
              <a:gd name="connsiteY2" fmla="*/ 662105 h 1576505"/>
              <a:gd name="connsiteX3" fmla="*/ 103189 w 2490905"/>
              <a:gd name="connsiteY3" fmla="*/ 1500305 h 1576505"/>
              <a:gd name="connsiteX4" fmla="*/ 182564 w 2490905"/>
              <a:gd name="connsiteY4" fmla="*/ 1576505 h 1576505"/>
              <a:gd name="connsiteX0" fmla="*/ 0 w 2490905"/>
              <a:gd name="connsiteY0" fmla="*/ 662105 h 1652705"/>
              <a:gd name="connsiteX1" fmla="*/ 2490905 w 2490905"/>
              <a:gd name="connsiteY1" fmla="*/ 0 h 1652705"/>
              <a:gd name="connsiteX2" fmla="*/ 103189 w 2490905"/>
              <a:gd name="connsiteY2" fmla="*/ 662105 h 1652705"/>
              <a:gd name="connsiteX3" fmla="*/ 103189 w 2490905"/>
              <a:gd name="connsiteY3" fmla="*/ 1500305 h 1652705"/>
              <a:gd name="connsiteX4" fmla="*/ 182564 w 2490905"/>
              <a:gd name="connsiteY4" fmla="*/ 1576505 h 1652705"/>
              <a:gd name="connsiteX5" fmla="*/ 103189 w 2490905"/>
              <a:gd name="connsiteY5" fmla="*/ 1652705 h 1652705"/>
              <a:gd name="connsiteX0" fmla="*/ 0 w 2490905"/>
              <a:gd name="connsiteY0" fmla="*/ 662105 h 2490905"/>
              <a:gd name="connsiteX1" fmla="*/ 2490905 w 2490905"/>
              <a:gd name="connsiteY1" fmla="*/ 0 h 2490905"/>
              <a:gd name="connsiteX2" fmla="*/ 103189 w 2490905"/>
              <a:gd name="connsiteY2" fmla="*/ 662105 h 2490905"/>
              <a:gd name="connsiteX3" fmla="*/ 103189 w 2490905"/>
              <a:gd name="connsiteY3" fmla="*/ 1500305 h 2490905"/>
              <a:gd name="connsiteX4" fmla="*/ 182564 w 2490905"/>
              <a:gd name="connsiteY4" fmla="*/ 1576505 h 2490905"/>
              <a:gd name="connsiteX5" fmla="*/ 103189 w 2490905"/>
              <a:gd name="connsiteY5" fmla="*/ 1652705 h 2490905"/>
              <a:gd name="connsiteX6" fmla="*/ 103189 w 2490905"/>
              <a:gd name="connsiteY6" fmla="*/ 2490905 h 2490905"/>
              <a:gd name="connsiteX0" fmla="*/ 0 w 2490905"/>
              <a:gd name="connsiteY0" fmla="*/ 662105 h 2490905"/>
              <a:gd name="connsiteX1" fmla="*/ 2490905 w 2490905"/>
              <a:gd name="connsiteY1" fmla="*/ 0 h 2490905"/>
              <a:gd name="connsiteX2" fmla="*/ 103189 w 2490905"/>
              <a:gd name="connsiteY2" fmla="*/ 662105 h 2490905"/>
              <a:gd name="connsiteX3" fmla="*/ 103189 w 2490905"/>
              <a:gd name="connsiteY3" fmla="*/ 1500305 h 2490905"/>
              <a:gd name="connsiteX4" fmla="*/ 182564 w 2490905"/>
              <a:gd name="connsiteY4" fmla="*/ 1576505 h 2490905"/>
              <a:gd name="connsiteX5" fmla="*/ 103189 w 2490905"/>
              <a:gd name="connsiteY5" fmla="*/ 1652705 h 2490905"/>
              <a:gd name="connsiteX6" fmla="*/ 103189 w 2490905"/>
              <a:gd name="connsiteY6" fmla="*/ 2490905 h 2490905"/>
              <a:gd name="connsiteX7" fmla="*/ 1 w 2490905"/>
              <a:gd name="connsiteY7" fmla="*/ 2490905 h 2490905"/>
              <a:gd name="connsiteX0" fmla="*/ 0 w 2490904"/>
              <a:gd name="connsiteY0" fmla="*/ 662105 h 2490905"/>
              <a:gd name="connsiteX1" fmla="*/ 2490904 w 2490904"/>
              <a:gd name="connsiteY1" fmla="*/ 0 h 2490905"/>
              <a:gd name="connsiteX2" fmla="*/ 103188 w 2490904"/>
              <a:gd name="connsiteY2" fmla="*/ 662105 h 2490905"/>
              <a:gd name="connsiteX3" fmla="*/ 103188 w 2490904"/>
              <a:gd name="connsiteY3" fmla="*/ 1500305 h 2490905"/>
              <a:gd name="connsiteX4" fmla="*/ 182563 w 2490904"/>
              <a:gd name="connsiteY4" fmla="*/ 1576505 h 2490905"/>
              <a:gd name="connsiteX5" fmla="*/ 103188 w 2490904"/>
              <a:gd name="connsiteY5" fmla="*/ 1652705 h 2490905"/>
              <a:gd name="connsiteX6" fmla="*/ 103188 w 2490904"/>
              <a:gd name="connsiteY6" fmla="*/ 2490905 h 2490905"/>
              <a:gd name="connsiteX7" fmla="*/ 0 w 2490904"/>
              <a:gd name="connsiteY7" fmla="*/ 2490905 h 2490905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0 h 1828800"/>
              <a:gd name="connsiteX3" fmla="*/ 103188 w 182563"/>
              <a:gd name="connsiteY3" fmla="*/ 838200 h 1828800"/>
              <a:gd name="connsiteX4" fmla="*/ 182563 w 182563"/>
              <a:gd name="connsiteY4" fmla="*/ 914400 h 1828800"/>
              <a:gd name="connsiteX5" fmla="*/ 103188 w 182563"/>
              <a:gd name="connsiteY5" fmla="*/ 990600 h 1828800"/>
              <a:gd name="connsiteX6" fmla="*/ 103188 w 182563"/>
              <a:gd name="connsiteY6" fmla="*/ 1828800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838199 h 1828800"/>
              <a:gd name="connsiteX3" fmla="*/ 103188 w 182563"/>
              <a:gd name="connsiteY3" fmla="*/ 838200 h 1828800"/>
              <a:gd name="connsiteX4" fmla="*/ 182563 w 182563"/>
              <a:gd name="connsiteY4" fmla="*/ 914400 h 1828800"/>
              <a:gd name="connsiteX5" fmla="*/ 103188 w 182563"/>
              <a:gd name="connsiteY5" fmla="*/ 990600 h 1828800"/>
              <a:gd name="connsiteX6" fmla="*/ 103188 w 182563"/>
              <a:gd name="connsiteY6" fmla="*/ 1828800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838199 h 1828800"/>
              <a:gd name="connsiteX3" fmla="*/ 182563 w 182563"/>
              <a:gd name="connsiteY3" fmla="*/ 914399 h 1828800"/>
              <a:gd name="connsiteX4" fmla="*/ 182563 w 182563"/>
              <a:gd name="connsiteY4" fmla="*/ 914400 h 1828800"/>
              <a:gd name="connsiteX5" fmla="*/ 103188 w 182563"/>
              <a:gd name="connsiteY5" fmla="*/ 990600 h 1828800"/>
              <a:gd name="connsiteX6" fmla="*/ 103188 w 182563"/>
              <a:gd name="connsiteY6" fmla="*/ 1828800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838199 h 1828800"/>
              <a:gd name="connsiteX3" fmla="*/ 182563 w 182563"/>
              <a:gd name="connsiteY3" fmla="*/ 914399 h 1828800"/>
              <a:gd name="connsiteX4" fmla="*/ 103188 w 182563"/>
              <a:gd name="connsiteY4" fmla="*/ 990599 h 1828800"/>
              <a:gd name="connsiteX5" fmla="*/ 103188 w 182563"/>
              <a:gd name="connsiteY5" fmla="*/ 990600 h 1828800"/>
              <a:gd name="connsiteX6" fmla="*/ 103188 w 182563"/>
              <a:gd name="connsiteY6" fmla="*/ 1828800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838199 h 1828800"/>
              <a:gd name="connsiteX3" fmla="*/ 182563 w 182563"/>
              <a:gd name="connsiteY3" fmla="*/ 914399 h 1828800"/>
              <a:gd name="connsiteX4" fmla="*/ 103188 w 182563"/>
              <a:gd name="connsiteY4" fmla="*/ 990599 h 1828800"/>
              <a:gd name="connsiteX5" fmla="*/ 103188 w 182563"/>
              <a:gd name="connsiteY5" fmla="*/ 1828799 h 1828800"/>
              <a:gd name="connsiteX6" fmla="*/ 103188 w 182563"/>
              <a:gd name="connsiteY6" fmla="*/ 1828800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838199 h 1828800"/>
              <a:gd name="connsiteX3" fmla="*/ 182563 w 182563"/>
              <a:gd name="connsiteY3" fmla="*/ 914399 h 1828800"/>
              <a:gd name="connsiteX4" fmla="*/ 103188 w 182563"/>
              <a:gd name="connsiteY4" fmla="*/ 990599 h 1828800"/>
              <a:gd name="connsiteX5" fmla="*/ 103188 w 182563"/>
              <a:gd name="connsiteY5" fmla="*/ 1828799 h 1828800"/>
              <a:gd name="connsiteX6" fmla="*/ 0 w 182563"/>
              <a:gd name="connsiteY6" fmla="*/ 1828799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3187 w 182563"/>
              <a:gd name="connsiteY1" fmla="*/ 0 h 1828800"/>
              <a:gd name="connsiteX2" fmla="*/ 103188 w 182563"/>
              <a:gd name="connsiteY2" fmla="*/ 838199 h 1828800"/>
              <a:gd name="connsiteX3" fmla="*/ 182563 w 182563"/>
              <a:gd name="connsiteY3" fmla="*/ 914399 h 1828800"/>
              <a:gd name="connsiteX4" fmla="*/ 103188 w 182563"/>
              <a:gd name="connsiteY4" fmla="*/ 990599 h 1828800"/>
              <a:gd name="connsiteX5" fmla="*/ 103188 w 182563"/>
              <a:gd name="connsiteY5" fmla="*/ 1828799 h 1828800"/>
              <a:gd name="connsiteX6" fmla="*/ 0 w 182563"/>
              <a:gd name="connsiteY6" fmla="*/ 1828799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2299 w 182563"/>
              <a:gd name="connsiteY1" fmla="*/ 0 h 1828800"/>
              <a:gd name="connsiteX2" fmla="*/ 103188 w 182563"/>
              <a:gd name="connsiteY2" fmla="*/ 838199 h 1828800"/>
              <a:gd name="connsiteX3" fmla="*/ 182563 w 182563"/>
              <a:gd name="connsiteY3" fmla="*/ 914399 h 1828800"/>
              <a:gd name="connsiteX4" fmla="*/ 103188 w 182563"/>
              <a:gd name="connsiteY4" fmla="*/ 990599 h 1828800"/>
              <a:gd name="connsiteX5" fmla="*/ 103188 w 182563"/>
              <a:gd name="connsiteY5" fmla="*/ 1828799 h 1828800"/>
              <a:gd name="connsiteX6" fmla="*/ 0 w 182563"/>
              <a:gd name="connsiteY6" fmla="*/ 1828799 h 1828800"/>
              <a:gd name="connsiteX7" fmla="*/ 0 w 182563"/>
              <a:gd name="connsiteY7" fmla="*/ 1828800 h 1828800"/>
              <a:gd name="connsiteX0" fmla="*/ 0 w 182563"/>
              <a:gd name="connsiteY0" fmla="*/ 0 h 1828800"/>
              <a:gd name="connsiteX1" fmla="*/ 102299 w 182563"/>
              <a:gd name="connsiteY1" fmla="*/ 0 h 1828800"/>
              <a:gd name="connsiteX2" fmla="*/ 102299 w 182563"/>
              <a:gd name="connsiteY2" fmla="*/ 841375 h 1828800"/>
              <a:gd name="connsiteX3" fmla="*/ 182563 w 182563"/>
              <a:gd name="connsiteY3" fmla="*/ 914399 h 1828800"/>
              <a:gd name="connsiteX4" fmla="*/ 103188 w 182563"/>
              <a:gd name="connsiteY4" fmla="*/ 990599 h 1828800"/>
              <a:gd name="connsiteX5" fmla="*/ 103188 w 182563"/>
              <a:gd name="connsiteY5" fmla="*/ 1828799 h 1828800"/>
              <a:gd name="connsiteX6" fmla="*/ 0 w 182563"/>
              <a:gd name="connsiteY6" fmla="*/ 1828799 h 1828800"/>
              <a:gd name="connsiteX7" fmla="*/ 0 w 182563"/>
              <a:gd name="connsiteY7" fmla="*/ 1828800 h 1828800"/>
              <a:gd name="connsiteX0" fmla="*/ 0 w 180989"/>
              <a:gd name="connsiteY0" fmla="*/ 0 h 1828800"/>
              <a:gd name="connsiteX1" fmla="*/ 102299 w 180989"/>
              <a:gd name="connsiteY1" fmla="*/ 0 h 1828800"/>
              <a:gd name="connsiteX2" fmla="*/ 102299 w 180989"/>
              <a:gd name="connsiteY2" fmla="*/ 841375 h 1828800"/>
              <a:gd name="connsiteX3" fmla="*/ 180989 w 180989"/>
              <a:gd name="connsiteY3" fmla="*/ 914400 h 1828800"/>
              <a:gd name="connsiteX4" fmla="*/ 103188 w 180989"/>
              <a:gd name="connsiteY4" fmla="*/ 990599 h 1828800"/>
              <a:gd name="connsiteX5" fmla="*/ 103188 w 180989"/>
              <a:gd name="connsiteY5" fmla="*/ 1828799 h 1828800"/>
              <a:gd name="connsiteX6" fmla="*/ 0 w 180989"/>
              <a:gd name="connsiteY6" fmla="*/ 1828799 h 1828800"/>
              <a:gd name="connsiteX7" fmla="*/ 0 w 180989"/>
              <a:gd name="connsiteY7" fmla="*/ 1828800 h 1828800"/>
              <a:gd name="connsiteX0" fmla="*/ 0 w 180989"/>
              <a:gd name="connsiteY0" fmla="*/ 0 h 1828800"/>
              <a:gd name="connsiteX1" fmla="*/ 102299 w 180989"/>
              <a:gd name="connsiteY1" fmla="*/ 0 h 1828800"/>
              <a:gd name="connsiteX2" fmla="*/ 102299 w 180989"/>
              <a:gd name="connsiteY2" fmla="*/ 841375 h 1828800"/>
              <a:gd name="connsiteX3" fmla="*/ 180989 w 180989"/>
              <a:gd name="connsiteY3" fmla="*/ 914400 h 1828800"/>
              <a:gd name="connsiteX4" fmla="*/ 102299 w 180989"/>
              <a:gd name="connsiteY4" fmla="*/ 987426 h 1828800"/>
              <a:gd name="connsiteX5" fmla="*/ 103188 w 180989"/>
              <a:gd name="connsiteY5" fmla="*/ 1828799 h 1828800"/>
              <a:gd name="connsiteX6" fmla="*/ 0 w 180989"/>
              <a:gd name="connsiteY6" fmla="*/ 1828799 h 1828800"/>
              <a:gd name="connsiteX7" fmla="*/ 0 w 180989"/>
              <a:gd name="connsiteY7" fmla="*/ 1828800 h 1828800"/>
              <a:gd name="connsiteX0" fmla="*/ 0 w 180989"/>
              <a:gd name="connsiteY0" fmla="*/ 0 h 1828800"/>
              <a:gd name="connsiteX1" fmla="*/ 102299 w 180989"/>
              <a:gd name="connsiteY1" fmla="*/ 0 h 1828800"/>
              <a:gd name="connsiteX2" fmla="*/ 102299 w 180989"/>
              <a:gd name="connsiteY2" fmla="*/ 841375 h 1828800"/>
              <a:gd name="connsiteX3" fmla="*/ 180989 w 180989"/>
              <a:gd name="connsiteY3" fmla="*/ 914400 h 1828800"/>
              <a:gd name="connsiteX4" fmla="*/ 102299 w 180989"/>
              <a:gd name="connsiteY4" fmla="*/ 987426 h 1828800"/>
              <a:gd name="connsiteX5" fmla="*/ 102299 w 180989"/>
              <a:gd name="connsiteY5" fmla="*/ 1828800 h 1828800"/>
              <a:gd name="connsiteX6" fmla="*/ 0 w 180989"/>
              <a:gd name="connsiteY6" fmla="*/ 1828799 h 1828800"/>
              <a:gd name="connsiteX7" fmla="*/ 0 w 180989"/>
              <a:gd name="connsiteY7" fmla="*/ 1828800 h 1828800"/>
              <a:gd name="connsiteX0" fmla="*/ 0 w 180989"/>
              <a:gd name="connsiteY0" fmla="*/ 0 h 1828800"/>
              <a:gd name="connsiteX1" fmla="*/ 102299 w 180989"/>
              <a:gd name="connsiteY1" fmla="*/ 0 h 1828800"/>
              <a:gd name="connsiteX2" fmla="*/ 102299 w 180989"/>
              <a:gd name="connsiteY2" fmla="*/ 841375 h 1828800"/>
              <a:gd name="connsiteX3" fmla="*/ 180989 w 180989"/>
              <a:gd name="connsiteY3" fmla="*/ 914400 h 1828800"/>
              <a:gd name="connsiteX4" fmla="*/ 102299 w 180989"/>
              <a:gd name="connsiteY4" fmla="*/ 987426 h 1828800"/>
              <a:gd name="connsiteX5" fmla="*/ 102299 w 180989"/>
              <a:gd name="connsiteY5" fmla="*/ 1828800 h 1828800"/>
              <a:gd name="connsiteX6" fmla="*/ 0 w 180989"/>
              <a:gd name="connsiteY6" fmla="*/ 1828800 h 1828800"/>
              <a:gd name="connsiteX7" fmla="*/ 0 w 180989"/>
              <a:gd name="connsiteY7" fmla="*/ 182880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989" h="1828800">
                <a:moveTo>
                  <a:pt x="0" y="0"/>
                </a:moveTo>
                <a:lnTo>
                  <a:pt x="102299" y="0"/>
                </a:lnTo>
                <a:lnTo>
                  <a:pt x="102299" y="841375"/>
                </a:lnTo>
                <a:lnTo>
                  <a:pt x="180989" y="914400"/>
                </a:lnTo>
                <a:lnTo>
                  <a:pt x="102299" y="987426"/>
                </a:lnTo>
                <a:lnTo>
                  <a:pt x="102299" y="1828800"/>
                </a:lnTo>
                <a:lnTo>
                  <a:pt x="0" y="1828800"/>
                </a:lnTo>
                <a:lnTo>
                  <a:pt x="0" y="182880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/>
            <a:endParaRPr lang="en-US" sz="1600" dirty="0">
              <a:latin typeface="+mn-lt"/>
            </a:endParaRPr>
          </a:p>
        </p:txBody>
      </p:sp>
      <p:grpSp>
        <p:nvGrpSpPr>
          <p:cNvPr id="65" name="Moon" hidden="1"/>
          <p:cNvGrpSpPr/>
          <p:nvPr>
            <p:custDataLst>
              <p:tags r:id="rId13"/>
            </p:custDataLst>
          </p:nvPr>
        </p:nvGrpSpPr>
        <p:grpSpPr bwMode="gray">
          <a:xfrm>
            <a:off x="11441080" y="3449679"/>
            <a:ext cx="254033" cy="254059"/>
            <a:chOff x="762000" y="1270000"/>
            <a:chExt cx="254000" cy="254000"/>
          </a:xfrm>
        </p:grpSpPr>
        <p:sp>
          <p:nvSpPr>
            <p:cNvPr id="66" name="Oval 65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E8E8E8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sz="16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7" name="Arc 66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en-US" sz="1600" dirty="0">
                <a:latin typeface="+mn-lt"/>
              </a:endParaRPr>
            </a:p>
          </p:txBody>
        </p:sp>
      </p:grpSp>
      <p:grpSp>
        <p:nvGrpSpPr>
          <p:cNvPr id="68" name="Flow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2470631" y="3470275"/>
            <a:ext cx="1830150" cy="914612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69" name="Freeform 68"/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E8E8E8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TextBox 69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86643"/>
            </a:xfrm>
            <a:prstGeom prst="rect">
              <a:avLst/>
            </a:prstGeom>
            <a:extLst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913481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79982" lvl="1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59964" lvl="2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39946" lvl="3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19928" lvl="4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</p:grpSp>
      <p:grpSp>
        <p:nvGrpSpPr>
          <p:cNvPr id="71" name="SplitFlow" hidden="1"/>
          <p:cNvGrpSpPr/>
          <p:nvPr>
            <p:custDataLst>
              <p:tags r:id="rId15"/>
            </p:custDataLst>
          </p:nvPr>
        </p:nvGrpSpPr>
        <p:grpSpPr bwMode="gray">
          <a:xfrm>
            <a:off x="4475712" y="3468952"/>
            <a:ext cx="1829038" cy="914612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2" name="Freeform 71"/>
            <p:cNvSpPr/>
            <p:nvPr>
              <p:custDataLst>
                <p:tags r:id="rId16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E8E8E8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TextBox 72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77800" y="1327150"/>
              <a:ext cx="1524000" cy="333941"/>
            </a:xfrm>
            <a:prstGeom prst="rect">
              <a:avLst/>
            </a:prstGeom>
            <a:extLst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913481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79982" lvl="1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59964" lvl="2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39946" lvl="3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19928" lvl="4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  <p:sp>
          <p:nvSpPr>
            <p:cNvPr id="74" name="Freeform 73"/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8E8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en-US" sz="16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TextBox 74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784350"/>
              <a:ext cx="1524000" cy="333941"/>
            </a:xfrm>
            <a:prstGeom prst="rect">
              <a:avLst/>
            </a:prstGeom>
            <a:extLst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913481" eaLnBrk="1" latinLnBrk="0" hangingPunct="1">
                <a:buClr>
                  <a:schemeClr val="tx1"/>
                </a:buClr>
                <a:buSzPct val="100000"/>
                <a:buFontTx/>
                <a:buNone/>
                <a:defRPr lang="x-none" sz="1600" baseline="0">
                  <a:latin typeface="+mn-lt"/>
                </a:defRPr>
              </a:lvl1pPr>
              <a:lvl2pPr marL="179982" lvl="1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2pPr>
              <a:lvl3pPr marL="359964" lvl="2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3pPr>
              <a:lvl4pPr marL="539946" lvl="3" indent="-180036" defTabSz="913481" eaLnBrk="1" latinLnBrk="0" hangingPunct="1"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x-none" sz="1600" baseline="0">
                  <a:latin typeface="+mn-lt"/>
                </a:defRPr>
              </a:lvl4pPr>
              <a:lvl5pPr marL="719928" lvl="4" indent="-180036" defTabSz="913481" eaLnBrk="1" latinLnBrk="0" hangingPunct="1">
                <a:buClr>
                  <a:schemeClr val="tx1"/>
                </a:buClr>
                <a:buSzPct val="100000"/>
                <a:buFont typeface="Symbol" panose="05050102010706020507" pitchFamily="18" charset="2"/>
                <a:buChar char="-"/>
                <a:defRPr lang="x-none" sz="1600" baseline="0">
                  <a:latin typeface="+mn-lt"/>
                </a:defRPr>
              </a:lvl5pPr>
              <a:lvl6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4990" indent="-132812" defTabSz="91348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/>
              <a:r>
                <a:rPr lang="en-US" b="1" dirty="0"/>
                <a:t>Text</a:t>
              </a:r>
            </a:p>
          </p:txBody>
        </p:sp>
      </p:grpSp>
      <p:sp>
        <p:nvSpPr>
          <p:cNvPr id="100" name="Oval" hidden="1"/>
          <p:cNvSpPr txBox="1">
            <a:spLocks/>
          </p:cNvSpPr>
          <p:nvPr/>
        </p:nvSpPr>
        <p:spPr bwMode="gray">
          <a:xfrm>
            <a:off x="5807208" y="1697303"/>
            <a:ext cx="1525389" cy="1524353"/>
          </a:xfrm>
          <a:prstGeom prst="ellipse">
            <a:avLst/>
          </a:prstGeom>
          <a:solidFill>
            <a:srgbClr val="E8E8E8"/>
          </a:solidFill>
          <a:ln>
            <a:solidFill>
              <a:schemeClr val="tx1"/>
            </a:solidFill>
          </a:ln>
        </p:spPr>
        <p:txBody>
          <a:bodyPr vert="horz" wrap="square" lIns="72000" tIns="72000" rIns="72000" bIns="72000" rtlCol="0" anchor="ctr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/>
            <a:r>
              <a:rPr lang="en-US" dirty="0"/>
              <a:t>Text</a:t>
            </a:r>
          </a:p>
        </p:txBody>
      </p:sp>
      <p:sp>
        <p:nvSpPr>
          <p:cNvPr id="101" name="Rectangle" hidden="1"/>
          <p:cNvSpPr txBox="1">
            <a:spLocks/>
          </p:cNvSpPr>
          <p:nvPr/>
        </p:nvSpPr>
        <p:spPr bwMode="gray">
          <a:xfrm>
            <a:off x="2475205" y="1697303"/>
            <a:ext cx="1525389" cy="1524353"/>
          </a:xfrm>
          <a:prstGeom prst="rect">
            <a:avLst/>
          </a:prstGeom>
          <a:solidFill>
            <a:srgbClr val="E8E8E8"/>
          </a:solidFill>
          <a:ln>
            <a:solidFill>
              <a:schemeClr val="tx1"/>
            </a:solidFill>
          </a:ln>
        </p:spPr>
        <p:txBody>
          <a:bodyPr vert="horz" wrap="square" lIns="75600" tIns="75600" rIns="75600" bIns="75600" rtlCol="0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2" name="RoundedRectangle" hidden="1"/>
          <p:cNvSpPr txBox="1">
            <a:spLocks/>
          </p:cNvSpPr>
          <p:nvPr/>
        </p:nvSpPr>
        <p:spPr bwMode="gray">
          <a:xfrm>
            <a:off x="4141901" y="1697303"/>
            <a:ext cx="1524000" cy="1524353"/>
          </a:xfrm>
          <a:prstGeom prst="roundRect">
            <a:avLst/>
          </a:prstGeom>
          <a:solidFill>
            <a:srgbClr val="E8E8E8"/>
          </a:solidFill>
          <a:ln>
            <a:solidFill>
              <a:schemeClr val="tx1"/>
            </a:solidFill>
          </a:ln>
        </p:spPr>
        <p:txBody>
          <a:bodyPr vert="horz" wrap="square" lIns="75600" tIns="75600" rIns="75600" bIns="75600" rtlCol="0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3" name="Arrow" hidden="1"/>
          <p:cNvSpPr txBox="1">
            <a:spLocks/>
          </p:cNvSpPr>
          <p:nvPr/>
        </p:nvSpPr>
        <p:spPr bwMode="gray">
          <a:xfrm>
            <a:off x="2468435" y="4437062"/>
            <a:ext cx="1830150" cy="914612"/>
          </a:xfrm>
          <a:prstGeom prst="rightArrow">
            <a:avLst>
              <a:gd name="adj1" fmla="val 50000"/>
              <a:gd name="adj2" fmla="val 37097"/>
            </a:avLst>
          </a:prstGeom>
          <a:solidFill>
            <a:srgbClr val="E8E8E8"/>
          </a:solidFill>
          <a:ln>
            <a:solidFill>
              <a:schemeClr val="tx1"/>
            </a:solidFill>
          </a:ln>
        </p:spPr>
        <p:txBody>
          <a:bodyPr vert="horz" wrap="square" lIns="75600" tIns="0" rIns="0" bIns="0" rtlCol="0" anchor="ctr">
            <a:noAutofit/>
          </a:bodyPr>
          <a:lstStyle>
            <a:lvl1pPr marL="0" lvl="0" indent="0" defTabSz="913481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79982" lvl="1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59964" lvl="2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3pPr>
            <a:lvl4pPr marL="539946" lvl="3" indent="-180036" defTabSz="913481" eaLnBrk="1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19928" lvl="4" indent="-180036" defTabSz="913481" eaLnBrk="1" latinLnBrk="0" hangingPunct="1"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x-none" sz="1600" baseline="0">
                <a:latin typeface="+mn-lt"/>
              </a:defRPr>
            </a:lvl5pPr>
            <a:lvl6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4990" indent="-132812" defTabSz="913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8" name="Freeform 54"/>
          <p:cNvSpPr>
            <a:spLocks noEditPoints="1"/>
          </p:cNvSpPr>
          <p:nvPr/>
        </p:nvSpPr>
        <p:spPr bwMode="gray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  <a:extLst/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82" name="Textfeld 8"/>
          <p:cNvSpPr txBox="1"/>
          <p:nvPr/>
        </p:nvSpPr>
        <p:spPr bwMode="gray">
          <a:xfrm>
            <a:off x="507933" y="6494400"/>
            <a:ext cx="129614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Copyright Allianz SE</a:t>
            </a:r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9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3481" rtl="0" eaLnBrk="1" fontAlgn="base" hangingPunct="1">
        <a:lnSpc>
          <a:spcPct val="100000"/>
        </a:lnSpc>
        <a:spcBef>
          <a:spcPct val="0"/>
        </a:spcBef>
        <a:spcAft>
          <a:spcPct val="0"/>
        </a:spcAft>
        <a:tabLst>
          <a:tab pos="538163" algn="l"/>
        </a:tabLst>
        <a:defRPr lang="x-none" sz="3000" b="1" cap="all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58"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16"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373"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832" algn="l" defTabSz="913481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Tx/>
        <a:buNone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982" indent="-180036" algn="l" defTabSz="9134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359964" indent="-180036" algn="l" defTabSz="9134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600" baseline="0">
          <a:solidFill>
            <a:schemeClr val="tx1"/>
          </a:solidFill>
          <a:latin typeface="+mn-lt"/>
        </a:defRPr>
      </a:lvl3pPr>
      <a:lvl4pPr marL="539946" indent="-180036" algn="l" defTabSz="9134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19928" indent="-180036" algn="l" defTabSz="913481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x-none" sz="1600" baseline="0">
          <a:solidFill>
            <a:schemeClr val="tx1"/>
          </a:solidFill>
          <a:latin typeface="+mn-lt"/>
        </a:defRPr>
      </a:lvl5pPr>
      <a:lvl6pPr marL="764990" indent="-132812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4990" indent="-132812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4990" indent="-132812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4990" indent="-132812" algn="l" defTabSz="9134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458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2916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373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5832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2291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8746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5204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1662" algn="l" defTabSz="932916" rtl="0" eaLnBrk="1" latinLnBrk="0" hangingPunct="1">
        <a:defRPr lang="x-none"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157">
          <p15:clr>
            <a:srgbClr val="F26B43"/>
          </p15:clr>
        </p15:guide>
        <p15:guide id="2" pos="2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5.emf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6BDBD0B-E3AB-40FE-8F13-70FB4E4C2C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828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097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6BDBD0B-E3AB-40FE-8F13-70FB4E4C2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35487EC6-824A-499C-80B8-515010605F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8E8E8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7C160BE4-3B1F-485F-931C-CD57C9637D6A}"/>
              </a:ext>
            </a:extLst>
          </p:cNvPr>
          <p:cNvSpPr/>
          <p:nvPr/>
        </p:nvSpPr>
        <p:spPr bwMode="gray">
          <a:xfrm>
            <a:off x="0" y="-5710"/>
            <a:ext cx="12190413" cy="6871008"/>
          </a:xfrm>
          <a:prstGeom prst="rect">
            <a:avLst/>
          </a:prstGeom>
          <a:noFill/>
          <a:ln w="920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5522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10447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65671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22089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76118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31342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86566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441789" algn="l" defTabSz="1110447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89" name="Connector: Elbow 10">
            <a:extLst>
              <a:ext uri="{FF2B5EF4-FFF2-40B4-BE49-F238E27FC236}">
                <a16:creationId xmlns:a16="http://schemas.microsoft.com/office/drawing/2014/main" id="{E438CB46-D883-41B3-BF78-397892F5BA21}"/>
              </a:ext>
            </a:extLst>
          </p:cNvPr>
          <p:cNvCxnSpPr>
            <a:cxnSpLocks/>
          </p:cNvCxnSpPr>
          <p:nvPr/>
        </p:nvCxnSpPr>
        <p:spPr>
          <a:xfrm>
            <a:off x="361950" y="1790700"/>
            <a:ext cx="11493500" cy="0"/>
          </a:xfrm>
          <a:prstGeom prst="straightConnector1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Freeform 7">
            <a:extLst>
              <a:ext uri="{FF2B5EF4-FFF2-40B4-BE49-F238E27FC236}">
                <a16:creationId xmlns:a16="http://schemas.microsoft.com/office/drawing/2014/main" id="{B944A31C-6953-4DDF-B5A2-006326055CFC}"/>
              </a:ext>
            </a:extLst>
          </p:cNvPr>
          <p:cNvSpPr>
            <a:spLocks/>
          </p:cNvSpPr>
          <p:nvPr/>
        </p:nvSpPr>
        <p:spPr bwMode="gray">
          <a:xfrm rot="533595">
            <a:off x="4008618" y="3797230"/>
            <a:ext cx="1306276" cy="1112378"/>
          </a:xfrm>
          <a:custGeom>
            <a:avLst/>
            <a:gdLst>
              <a:gd name="T0" fmla="*/ 828 w 1440"/>
              <a:gd name="T1" fmla="*/ 30 h 1314"/>
              <a:gd name="T2" fmla="*/ 846 w 1440"/>
              <a:gd name="T3" fmla="*/ 96 h 1314"/>
              <a:gd name="T4" fmla="*/ 924 w 1440"/>
              <a:gd name="T5" fmla="*/ 138 h 1314"/>
              <a:gd name="T6" fmla="*/ 1026 w 1440"/>
              <a:gd name="T7" fmla="*/ 162 h 1314"/>
              <a:gd name="T8" fmla="*/ 1122 w 1440"/>
              <a:gd name="T9" fmla="*/ 132 h 1314"/>
              <a:gd name="T10" fmla="*/ 1152 w 1440"/>
              <a:gd name="T11" fmla="*/ 72 h 1314"/>
              <a:gd name="T12" fmla="*/ 1278 w 1440"/>
              <a:gd name="T13" fmla="*/ 96 h 1314"/>
              <a:gd name="T14" fmla="*/ 1290 w 1440"/>
              <a:gd name="T15" fmla="*/ 174 h 1314"/>
              <a:gd name="T16" fmla="*/ 1338 w 1440"/>
              <a:gd name="T17" fmla="*/ 246 h 1314"/>
              <a:gd name="T18" fmla="*/ 1404 w 1440"/>
              <a:gd name="T19" fmla="*/ 240 h 1314"/>
              <a:gd name="T20" fmla="*/ 1416 w 1440"/>
              <a:gd name="T21" fmla="*/ 330 h 1314"/>
              <a:gd name="T22" fmla="*/ 1416 w 1440"/>
              <a:gd name="T23" fmla="*/ 414 h 1314"/>
              <a:gd name="T24" fmla="*/ 1326 w 1440"/>
              <a:gd name="T25" fmla="*/ 444 h 1314"/>
              <a:gd name="T26" fmla="*/ 1326 w 1440"/>
              <a:gd name="T27" fmla="*/ 528 h 1314"/>
              <a:gd name="T28" fmla="*/ 1290 w 1440"/>
              <a:gd name="T29" fmla="*/ 588 h 1314"/>
              <a:gd name="T30" fmla="*/ 1272 w 1440"/>
              <a:gd name="T31" fmla="*/ 666 h 1314"/>
              <a:gd name="T32" fmla="*/ 1248 w 1440"/>
              <a:gd name="T33" fmla="*/ 744 h 1314"/>
              <a:gd name="T34" fmla="*/ 1200 w 1440"/>
              <a:gd name="T35" fmla="*/ 804 h 1314"/>
              <a:gd name="T36" fmla="*/ 1182 w 1440"/>
              <a:gd name="T37" fmla="*/ 882 h 1314"/>
              <a:gd name="T38" fmla="*/ 1134 w 1440"/>
              <a:gd name="T39" fmla="*/ 972 h 1314"/>
              <a:gd name="T40" fmla="*/ 1086 w 1440"/>
              <a:gd name="T41" fmla="*/ 1008 h 1314"/>
              <a:gd name="T42" fmla="*/ 1080 w 1440"/>
              <a:gd name="T43" fmla="*/ 1086 h 1314"/>
              <a:gd name="T44" fmla="*/ 1134 w 1440"/>
              <a:gd name="T45" fmla="*/ 1164 h 1314"/>
              <a:gd name="T46" fmla="*/ 1104 w 1440"/>
              <a:gd name="T47" fmla="*/ 1200 h 1314"/>
              <a:gd name="T48" fmla="*/ 1032 w 1440"/>
              <a:gd name="T49" fmla="*/ 1254 h 1314"/>
              <a:gd name="T50" fmla="*/ 948 w 1440"/>
              <a:gd name="T51" fmla="*/ 1302 h 1314"/>
              <a:gd name="T52" fmla="*/ 906 w 1440"/>
              <a:gd name="T53" fmla="*/ 1218 h 1314"/>
              <a:gd name="T54" fmla="*/ 828 w 1440"/>
              <a:gd name="T55" fmla="*/ 1146 h 1314"/>
              <a:gd name="T56" fmla="*/ 750 w 1440"/>
              <a:gd name="T57" fmla="*/ 1110 h 1314"/>
              <a:gd name="T58" fmla="*/ 732 w 1440"/>
              <a:gd name="T59" fmla="*/ 1056 h 1314"/>
              <a:gd name="T60" fmla="*/ 768 w 1440"/>
              <a:gd name="T61" fmla="*/ 1008 h 1314"/>
              <a:gd name="T62" fmla="*/ 828 w 1440"/>
              <a:gd name="T63" fmla="*/ 948 h 1314"/>
              <a:gd name="T64" fmla="*/ 744 w 1440"/>
              <a:gd name="T65" fmla="*/ 888 h 1314"/>
              <a:gd name="T66" fmla="*/ 684 w 1440"/>
              <a:gd name="T67" fmla="*/ 906 h 1314"/>
              <a:gd name="T68" fmla="*/ 612 w 1440"/>
              <a:gd name="T69" fmla="*/ 948 h 1314"/>
              <a:gd name="T70" fmla="*/ 576 w 1440"/>
              <a:gd name="T71" fmla="*/ 882 h 1314"/>
              <a:gd name="T72" fmla="*/ 510 w 1440"/>
              <a:gd name="T73" fmla="*/ 840 h 1314"/>
              <a:gd name="T74" fmla="*/ 402 w 1440"/>
              <a:gd name="T75" fmla="*/ 828 h 1314"/>
              <a:gd name="T76" fmla="*/ 288 w 1440"/>
              <a:gd name="T77" fmla="*/ 834 h 1314"/>
              <a:gd name="T78" fmla="*/ 246 w 1440"/>
              <a:gd name="T79" fmla="*/ 774 h 1314"/>
              <a:gd name="T80" fmla="*/ 204 w 1440"/>
              <a:gd name="T81" fmla="*/ 678 h 1314"/>
              <a:gd name="T82" fmla="*/ 150 w 1440"/>
              <a:gd name="T83" fmla="*/ 672 h 1314"/>
              <a:gd name="T84" fmla="*/ 84 w 1440"/>
              <a:gd name="T85" fmla="*/ 666 h 1314"/>
              <a:gd name="T86" fmla="*/ 90 w 1440"/>
              <a:gd name="T87" fmla="*/ 750 h 1314"/>
              <a:gd name="T88" fmla="*/ 12 w 1440"/>
              <a:gd name="T89" fmla="*/ 780 h 1314"/>
              <a:gd name="T90" fmla="*/ 42 w 1440"/>
              <a:gd name="T91" fmla="*/ 702 h 1314"/>
              <a:gd name="T92" fmla="*/ 66 w 1440"/>
              <a:gd name="T93" fmla="*/ 612 h 1314"/>
              <a:gd name="T94" fmla="*/ 84 w 1440"/>
              <a:gd name="T95" fmla="*/ 522 h 1314"/>
              <a:gd name="T96" fmla="*/ 84 w 1440"/>
              <a:gd name="T97" fmla="*/ 456 h 1314"/>
              <a:gd name="T98" fmla="*/ 66 w 1440"/>
              <a:gd name="T99" fmla="*/ 384 h 1314"/>
              <a:gd name="T100" fmla="*/ 144 w 1440"/>
              <a:gd name="T101" fmla="*/ 312 h 1314"/>
              <a:gd name="T102" fmla="*/ 222 w 1440"/>
              <a:gd name="T103" fmla="*/ 312 h 1314"/>
              <a:gd name="T104" fmla="*/ 264 w 1440"/>
              <a:gd name="T105" fmla="*/ 246 h 1314"/>
              <a:gd name="T106" fmla="*/ 342 w 1440"/>
              <a:gd name="T107" fmla="*/ 306 h 1314"/>
              <a:gd name="T108" fmla="*/ 402 w 1440"/>
              <a:gd name="T109" fmla="*/ 246 h 1314"/>
              <a:gd name="T110" fmla="*/ 444 w 1440"/>
              <a:gd name="T111" fmla="*/ 174 h 1314"/>
              <a:gd name="T112" fmla="*/ 462 w 1440"/>
              <a:gd name="T113" fmla="*/ 78 h 1314"/>
              <a:gd name="T114" fmla="*/ 516 w 1440"/>
              <a:gd name="T115" fmla="*/ 30 h 1314"/>
              <a:gd name="T116" fmla="*/ 558 w 1440"/>
              <a:gd name="T117" fmla="*/ 18 h 1314"/>
              <a:gd name="T118" fmla="*/ 612 w 1440"/>
              <a:gd name="T119" fmla="*/ 72 h 1314"/>
              <a:gd name="T120" fmla="*/ 672 w 1440"/>
              <a:gd name="T121" fmla="*/ 84 h 131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440" h="1314">
                <a:moveTo>
                  <a:pt x="720" y="6"/>
                </a:moveTo>
                <a:lnTo>
                  <a:pt x="726" y="6"/>
                </a:lnTo>
                <a:lnTo>
                  <a:pt x="726" y="0"/>
                </a:lnTo>
                <a:lnTo>
                  <a:pt x="726" y="6"/>
                </a:lnTo>
                <a:lnTo>
                  <a:pt x="732" y="6"/>
                </a:lnTo>
                <a:lnTo>
                  <a:pt x="738" y="0"/>
                </a:lnTo>
                <a:lnTo>
                  <a:pt x="744" y="0"/>
                </a:lnTo>
                <a:lnTo>
                  <a:pt x="750" y="0"/>
                </a:lnTo>
                <a:lnTo>
                  <a:pt x="756" y="0"/>
                </a:lnTo>
                <a:lnTo>
                  <a:pt x="762" y="6"/>
                </a:lnTo>
                <a:lnTo>
                  <a:pt x="768" y="0"/>
                </a:lnTo>
                <a:lnTo>
                  <a:pt x="774" y="0"/>
                </a:lnTo>
                <a:lnTo>
                  <a:pt x="780" y="0"/>
                </a:lnTo>
                <a:lnTo>
                  <a:pt x="786" y="0"/>
                </a:lnTo>
                <a:lnTo>
                  <a:pt x="792" y="0"/>
                </a:lnTo>
                <a:lnTo>
                  <a:pt x="786" y="6"/>
                </a:lnTo>
                <a:lnTo>
                  <a:pt x="786" y="12"/>
                </a:lnTo>
                <a:lnTo>
                  <a:pt x="792" y="12"/>
                </a:lnTo>
                <a:lnTo>
                  <a:pt x="798" y="12"/>
                </a:lnTo>
                <a:lnTo>
                  <a:pt x="804" y="12"/>
                </a:lnTo>
                <a:lnTo>
                  <a:pt x="810" y="18"/>
                </a:lnTo>
                <a:lnTo>
                  <a:pt x="810" y="24"/>
                </a:lnTo>
                <a:lnTo>
                  <a:pt x="816" y="24"/>
                </a:lnTo>
                <a:lnTo>
                  <a:pt x="822" y="30"/>
                </a:lnTo>
                <a:lnTo>
                  <a:pt x="828" y="30"/>
                </a:lnTo>
                <a:lnTo>
                  <a:pt x="828" y="24"/>
                </a:lnTo>
                <a:lnTo>
                  <a:pt x="834" y="24"/>
                </a:lnTo>
                <a:lnTo>
                  <a:pt x="840" y="24"/>
                </a:lnTo>
                <a:lnTo>
                  <a:pt x="840" y="30"/>
                </a:lnTo>
                <a:lnTo>
                  <a:pt x="840" y="36"/>
                </a:lnTo>
                <a:lnTo>
                  <a:pt x="840" y="42"/>
                </a:lnTo>
                <a:lnTo>
                  <a:pt x="846" y="48"/>
                </a:lnTo>
                <a:lnTo>
                  <a:pt x="852" y="48"/>
                </a:lnTo>
                <a:lnTo>
                  <a:pt x="858" y="48"/>
                </a:lnTo>
                <a:lnTo>
                  <a:pt x="858" y="54"/>
                </a:lnTo>
                <a:lnTo>
                  <a:pt x="864" y="54"/>
                </a:lnTo>
                <a:lnTo>
                  <a:pt x="858" y="60"/>
                </a:lnTo>
                <a:lnTo>
                  <a:pt x="858" y="66"/>
                </a:lnTo>
                <a:lnTo>
                  <a:pt x="852" y="66"/>
                </a:lnTo>
                <a:lnTo>
                  <a:pt x="846" y="66"/>
                </a:lnTo>
                <a:lnTo>
                  <a:pt x="852" y="66"/>
                </a:lnTo>
                <a:lnTo>
                  <a:pt x="852" y="72"/>
                </a:lnTo>
                <a:lnTo>
                  <a:pt x="846" y="72"/>
                </a:lnTo>
                <a:lnTo>
                  <a:pt x="846" y="78"/>
                </a:lnTo>
                <a:lnTo>
                  <a:pt x="840" y="78"/>
                </a:lnTo>
                <a:lnTo>
                  <a:pt x="846" y="78"/>
                </a:lnTo>
                <a:lnTo>
                  <a:pt x="840" y="78"/>
                </a:lnTo>
                <a:lnTo>
                  <a:pt x="840" y="84"/>
                </a:lnTo>
                <a:lnTo>
                  <a:pt x="846" y="90"/>
                </a:lnTo>
                <a:lnTo>
                  <a:pt x="846" y="96"/>
                </a:lnTo>
                <a:lnTo>
                  <a:pt x="852" y="96"/>
                </a:lnTo>
                <a:lnTo>
                  <a:pt x="858" y="96"/>
                </a:lnTo>
                <a:lnTo>
                  <a:pt x="864" y="90"/>
                </a:lnTo>
                <a:lnTo>
                  <a:pt x="864" y="96"/>
                </a:lnTo>
                <a:lnTo>
                  <a:pt x="864" y="102"/>
                </a:lnTo>
                <a:lnTo>
                  <a:pt x="870" y="102"/>
                </a:lnTo>
                <a:lnTo>
                  <a:pt x="876" y="102"/>
                </a:lnTo>
                <a:lnTo>
                  <a:pt x="876" y="96"/>
                </a:lnTo>
                <a:lnTo>
                  <a:pt x="882" y="96"/>
                </a:lnTo>
                <a:lnTo>
                  <a:pt x="888" y="96"/>
                </a:lnTo>
                <a:lnTo>
                  <a:pt x="888" y="102"/>
                </a:lnTo>
                <a:lnTo>
                  <a:pt x="894" y="102"/>
                </a:lnTo>
                <a:lnTo>
                  <a:pt x="900" y="102"/>
                </a:lnTo>
                <a:lnTo>
                  <a:pt x="906" y="96"/>
                </a:lnTo>
                <a:lnTo>
                  <a:pt x="906" y="102"/>
                </a:lnTo>
                <a:lnTo>
                  <a:pt x="912" y="102"/>
                </a:lnTo>
                <a:lnTo>
                  <a:pt x="912" y="108"/>
                </a:lnTo>
                <a:lnTo>
                  <a:pt x="906" y="108"/>
                </a:lnTo>
                <a:lnTo>
                  <a:pt x="906" y="114"/>
                </a:lnTo>
                <a:lnTo>
                  <a:pt x="906" y="120"/>
                </a:lnTo>
                <a:lnTo>
                  <a:pt x="912" y="120"/>
                </a:lnTo>
                <a:lnTo>
                  <a:pt x="918" y="126"/>
                </a:lnTo>
                <a:lnTo>
                  <a:pt x="924" y="126"/>
                </a:lnTo>
                <a:lnTo>
                  <a:pt x="924" y="132"/>
                </a:lnTo>
                <a:lnTo>
                  <a:pt x="924" y="138"/>
                </a:lnTo>
                <a:lnTo>
                  <a:pt x="930" y="138"/>
                </a:lnTo>
                <a:lnTo>
                  <a:pt x="930" y="144"/>
                </a:lnTo>
                <a:lnTo>
                  <a:pt x="936" y="150"/>
                </a:lnTo>
                <a:lnTo>
                  <a:pt x="942" y="150"/>
                </a:lnTo>
                <a:lnTo>
                  <a:pt x="948" y="150"/>
                </a:lnTo>
                <a:lnTo>
                  <a:pt x="948" y="144"/>
                </a:lnTo>
                <a:lnTo>
                  <a:pt x="954" y="144"/>
                </a:lnTo>
                <a:lnTo>
                  <a:pt x="960" y="144"/>
                </a:lnTo>
                <a:lnTo>
                  <a:pt x="966" y="144"/>
                </a:lnTo>
                <a:lnTo>
                  <a:pt x="972" y="144"/>
                </a:lnTo>
                <a:lnTo>
                  <a:pt x="978" y="150"/>
                </a:lnTo>
                <a:lnTo>
                  <a:pt x="978" y="156"/>
                </a:lnTo>
                <a:lnTo>
                  <a:pt x="984" y="156"/>
                </a:lnTo>
                <a:lnTo>
                  <a:pt x="984" y="162"/>
                </a:lnTo>
                <a:lnTo>
                  <a:pt x="990" y="162"/>
                </a:lnTo>
                <a:lnTo>
                  <a:pt x="996" y="162"/>
                </a:lnTo>
                <a:lnTo>
                  <a:pt x="1002" y="162"/>
                </a:lnTo>
                <a:lnTo>
                  <a:pt x="1008" y="162"/>
                </a:lnTo>
                <a:lnTo>
                  <a:pt x="1008" y="168"/>
                </a:lnTo>
                <a:lnTo>
                  <a:pt x="1002" y="168"/>
                </a:lnTo>
                <a:lnTo>
                  <a:pt x="1008" y="168"/>
                </a:lnTo>
                <a:lnTo>
                  <a:pt x="1014" y="168"/>
                </a:lnTo>
                <a:lnTo>
                  <a:pt x="1014" y="162"/>
                </a:lnTo>
                <a:lnTo>
                  <a:pt x="1020" y="162"/>
                </a:lnTo>
                <a:lnTo>
                  <a:pt x="1026" y="162"/>
                </a:lnTo>
                <a:lnTo>
                  <a:pt x="1032" y="162"/>
                </a:lnTo>
                <a:lnTo>
                  <a:pt x="1032" y="156"/>
                </a:lnTo>
                <a:lnTo>
                  <a:pt x="1032" y="162"/>
                </a:lnTo>
                <a:lnTo>
                  <a:pt x="1038" y="156"/>
                </a:lnTo>
                <a:lnTo>
                  <a:pt x="1044" y="156"/>
                </a:lnTo>
                <a:lnTo>
                  <a:pt x="1050" y="156"/>
                </a:lnTo>
                <a:lnTo>
                  <a:pt x="1050" y="162"/>
                </a:lnTo>
                <a:lnTo>
                  <a:pt x="1056" y="162"/>
                </a:lnTo>
                <a:lnTo>
                  <a:pt x="1056" y="156"/>
                </a:lnTo>
                <a:lnTo>
                  <a:pt x="1056" y="150"/>
                </a:lnTo>
                <a:lnTo>
                  <a:pt x="1056" y="144"/>
                </a:lnTo>
                <a:lnTo>
                  <a:pt x="1062" y="144"/>
                </a:lnTo>
                <a:lnTo>
                  <a:pt x="1068" y="144"/>
                </a:lnTo>
                <a:lnTo>
                  <a:pt x="1068" y="138"/>
                </a:lnTo>
                <a:lnTo>
                  <a:pt x="1074" y="138"/>
                </a:lnTo>
                <a:lnTo>
                  <a:pt x="1080" y="138"/>
                </a:lnTo>
                <a:lnTo>
                  <a:pt x="1080" y="144"/>
                </a:lnTo>
                <a:lnTo>
                  <a:pt x="1086" y="144"/>
                </a:lnTo>
                <a:lnTo>
                  <a:pt x="1092" y="144"/>
                </a:lnTo>
                <a:lnTo>
                  <a:pt x="1098" y="144"/>
                </a:lnTo>
                <a:lnTo>
                  <a:pt x="1104" y="138"/>
                </a:lnTo>
                <a:lnTo>
                  <a:pt x="1110" y="138"/>
                </a:lnTo>
                <a:lnTo>
                  <a:pt x="1110" y="132"/>
                </a:lnTo>
                <a:lnTo>
                  <a:pt x="1116" y="132"/>
                </a:lnTo>
                <a:lnTo>
                  <a:pt x="1122" y="132"/>
                </a:lnTo>
                <a:lnTo>
                  <a:pt x="1122" y="138"/>
                </a:lnTo>
                <a:lnTo>
                  <a:pt x="1128" y="138"/>
                </a:lnTo>
                <a:lnTo>
                  <a:pt x="1122" y="138"/>
                </a:lnTo>
                <a:lnTo>
                  <a:pt x="1128" y="138"/>
                </a:lnTo>
                <a:lnTo>
                  <a:pt x="1128" y="132"/>
                </a:lnTo>
                <a:lnTo>
                  <a:pt x="1128" y="126"/>
                </a:lnTo>
                <a:lnTo>
                  <a:pt x="1128" y="120"/>
                </a:lnTo>
                <a:lnTo>
                  <a:pt x="1122" y="120"/>
                </a:lnTo>
                <a:lnTo>
                  <a:pt x="1128" y="120"/>
                </a:lnTo>
                <a:lnTo>
                  <a:pt x="1128" y="114"/>
                </a:lnTo>
                <a:lnTo>
                  <a:pt x="1122" y="114"/>
                </a:lnTo>
                <a:lnTo>
                  <a:pt x="1122" y="108"/>
                </a:lnTo>
                <a:lnTo>
                  <a:pt x="1122" y="102"/>
                </a:lnTo>
                <a:lnTo>
                  <a:pt x="1122" y="96"/>
                </a:lnTo>
                <a:lnTo>
                  <a:pt x="1122" y="90"/>
                </a:lnTo>
                <a:lnTo>
                  <a:pt x="1128" y="90"/>
                </a:lnTo>
                <a:lnTo>
                  <a:pt x="1128" y="84"/>
                </a:lnTo>
                <a:lnTo>
                  <a:pt x="1134" y="84"/>
                </a:lnTo>
                <a:lnTo>
                  <a:pt x="1140" y="84"/>
                </a:lnTo>
                <a:lnTo>
                  <a:pt x="1140" y="78"/>
                </a:lnTo>
                <a:lnTo>
                  <a:pt x="1146" y="78"/>
                </a:lnTo>
                <a:lnTo>
                  <a:pt x="1146" y="72"/>
                </a:lnTo>
                <a:lnTo>
                  <a:pt x="1146" y="78"/>
                </a:lnTo>
                <a:lnTo>
                  <a:pt x="1152" y="78"/>
                </a:lnTo>
                <a:lnTo>
                  <a:pt x="1152" y="72"/>
                </a:lnTo>
                <a:lnTo>
                  <a:pt x="1158" y="72"/>
                </a:lnTo>
                <a:lnTo>
                  <a:pt x="1164" y="72"/>
                </a:lnTo>
                <a:lnTo>
                  <a:pt x="1170" y="72"/>
                </a:lnTo>
                <a:lnTo>
                  <a:pt x="1176" y="72"/>
                </a:lnTo>
                <a:lnTo>
                  <a:pt x="1182" y="72"/>
                </a:lnTo>
                <a:lnTo>
                  <a:pt x="1188" y="72"/>
                </a:lnTo>
                <a:lnTo>
                  <a:pt x="1194" y="72"/>
                </a:lnTo>
                <a:lnTo>
                  <a:pt x="1200" y="72"/>
                </a:lnTo>
                <a:lnTo>
                  <a:pt x="1200" y="78"/>
                </a:lnTo>
                <a:lnTo>
                  <a:pt x="1206" y="78"/>
                </a:lnTo>
                <a:lnTo>
                  <a:pt x="1212" y="78"/>
                </a:lnTo>
                <a:lnTo>
                  <a:pt x="1218" y="78"/>
                </a:lnTo>
                <a:lnTo>
                  <a:pt x="1224" y="78"/>
                </a:lnTo>
                <a:lnTo>
                  <a:pt x="1230" y="78"/>
                </a:lnTo>
                <a:lnTo>
                  <a:pt x="1236" y="78"/>
                </a:lnTo>
                <a:lnTo>
                  <a:pt x="1242" y="78"/>
                </a:lnTo>
                <a:lnTo>
                  <a:pt x="1248" y="78"/>
                </a:lnTo>
                <a:lnTo>
                  <a:pt x="1248" y="84"/>
                </a:lnTo>
                <a:lnTo>
                  <a:pt x="1254" y="84"/>
                </a:lnTo>
                <a:lnTo>
                  <a:pt x="1260" y="84"/>
                </a:lnTo>
                <a:lnTo>
                  <a:pt x="1266" y="84"/>
                </a:lnTo>
                <a:lnTo>
                  <a:pt x="1266" y="90"/>
                </a:lnTo>
                <a:lnTo>
                  <a:pt x="1272" y="90"/>
                </a:lnTo>
                <a:lnTo>
                  <a:pt x="1278" y="90"/>
                </a:lnTo>
                <a:lnTo>
                  <a:pt x="1278" y="96"/>
                </a:lnTo>
                <a:lnTo>
                  <a:pt x="1278" y="102"/>
                </a:lnTo>
                <a:lnTo>
                  <a:pt x="1278" y="108"/>
                </a:lnTo>
                <a:lnTo>
                  <a:pt x="1284" y="108"/>
                </a:lnTo>
                <a:lnTo>
                  <a:pt x="1290" y="108"/>
                </a:lnTo>
                <a:lnTo>
                  <a:pt x="1296" y="108"/>
                </a:lnTo>
                <a:lnTo>
                  <a:pt x="1296" y="114"/>
                </a:lnTo>
                <a:lnTo>
                  <a:pt x="1302" y="114"/>
                </a:lnTo>
                <a:lnTo>
                  <a:pt x="1302" y="120"/>
                </a:lnTo>
                <a:lnTo>
                  <a:pt x="1308" y="120"/>
                </a:lnTo>
                <a:lnTo>
                  <a:pt x="1308" y="126"/>
                </a:lnTo>
                <a:lnTo>
                  <a:pt x="1308" y="132"/>
                </a:lnTo>
                <a:lnTo>
                  <a:pt x="1308" y="138"/>
                </a:lnTo>
                <a:lnTo>
                  <a:pt x="1308" y="144"/>
                </a:lnTo>
                <a:lnTo>
                  <a:pt x="1308" y="150"/>
                </a:lnTo>
                <a:lnTo>
                  <a:pt x="1308" y="156"/>
                </a:lnTo>
                <a:lnTo>
                  <a:pt x="1302" y="156"/>
                </a:lnTo>
                <a:lnTo>
                  <a:pt x="1302" y="162"/>
                </a:lnTo>
                <a:lnTo>
                  <a:pt x="1296" y="162"/>
                </a:lnTo>
                <a:lnTo>
                  <a:pt x="1290" y="162"/>
                </a:lnTo>
                <a:lnTo>
                  <a:pt x="1290" y="168"/>
                </a:lnTo>
                <a:lnTo>
                  <a:pt x="1284" y="168"/>
                </a:lnTo>
                <a:lnTo>
                  <a:pt x="1278" y="168"/>
                </a:lnTo>
                <a:lnTo>
                  <a:pt x="1278" y="174"/>
                </a:lnTo>
                <a:lnTo>
                  <a:pt x="1284" y="174"/>
                </a:lnTo>
                <a:lnTo>
                  <a:pt x="1290" y="174"/>
                </a:lnTo>
                <a:lnTo>
                  <a:pt x="1290" y="180"/>
                </a:lnTo>
                <a:lnTo>
                  <a:pt x="1284" y="180"/>
                </a:lnTo>
                <a:lnTo>
                  <a:pt x="1284" y="186"/>
                </a:lnTo>
                <a:lnTo>
                  <a:pt x="1284" y="192"/>
                </a:lnTo>
                <a:lnTo>
                  <a:pt x="1290" y="192"/>
                </a:lnTo>
                <a:lnTo>
                  <a:pt x="1284" y="192"/>
                </a:lnTo>
                <a:lnTo>
                  <a:pt x="1284" y="198"/>
                </a:lnTo>
                <a:lnTo>
                  <a:pt x="1290" y="198"/>
                </a:lnTo>
                <a:lnTo>
                  <a:pt x="1290" y="204"/>
                </a:lnTo>
                <a:lnTo>
                  <a:pt x="1290" y="210"/>
                </a:lnTo>
                <a:lnTo>
                  <a:pt x="1296" y="216"/>
                </a:lnTo>
                <a:lnTo>
                  <a:pt x="1302" y="216"/>
                </a:lnTo>
                <a:lnTo>
                  <a:pt x="1302" y="222"/>
                </a:lnTo>
                <a:lnTo>
                  <a:pt x="1302" y="228"/>
                </a:lnTo>
                <a:lnTo>
                  <a:pt x="1308" y="228"/>
                </a:lnTo>
                <a:lnTo>
                  <a:pt x="1308" y="234"/>
                </a:lnTo>
                <a:lnTo>
                  <a:pt x="1302" y="234"/>
                </a:lnTo>
                <a:lnTo>
                  <a:pt x="1302" y="240"/>
                </a:lnTo>
                <a:lnTo>
                  <a:pt x="1308" y="240"/>
                </a:lnTo>
                <a:lnTo>
                  <a:pt x="1308" y="246"/>
                </a:lnTo>
                <a:lnTo>
                  <a:pt x="1314" y="246"/>
                </a:lnTo>
                <a:lnTo>
                  <a:pt x="1320" y="246"/>
                </a:lnTo>
                <a:lnTo>
                  <a:pt x="1326" y="246"/>
                </a:lnTo>
                <a:lnTo>
                  <a:pt x="1332" y="246"/>
                </a:lnTo>
                <a:lnTo>
                  <a:pt x="1338" y="246"/>
                </a:lnTo>
                <a:lnTo>
                  <a:pt x="1338" y="240"/>
                </a:lnTo>
                <a:lnTo>
                  <a:pt x="1338" y="234"/>
                </a:lnTo>
                <a:lnTo>
                  <a:pt x="1344" y="234"/>
                </a:lnTo>
                <a:lnTo>
                  <a:pt x="1350" y="228"/>
                </a:lnTo>
                <a:lnTo>
                  <a:pt x="1350" y="234"/>
                </a:lnTo>
                <a:lnTo>
                  <a:pt x="1356" y="234"/>
                </a:lnTo>
                <a:lnTo>
                  <a:pt x="1356" y="240"/>
                </a:lnTo>
                <a:lnTo>
                  <a:pt x="1362" y="240"/>
                </a:lnTo>
                <a:lnTo>
                  <a:pt x="1362" y="234"/>
                </a:lnTo>
                <a:lnTo>
                  <a:pt x="1368" y="234"/>
                </a:lnTo>
                <a:lnTo>
                  <a:pt x="1368" y="240"/>
                </a:lnTo>
                <a:lnTo>
                  <a:pt x="1374" y="240"/>
                </a:lnTo>
                <a:lnTo>
                  <a:pt x="1374" y="246"/>
                </a:lnTo>
                <a:lnTo>
                  <a:pt x="1380" y="240"/>
                </a:lnTo>
                <a:lnTo>
                  <a:pt x="1380" y="246"/>
                </a:lnTo>
                <a:lnTo>
                  <a:pt x="1386" y="246"/>
                </a:lnTo>
                <a:lnTo>
                  <a:pt x="1392" y="246"/>
                </a:lnTo>
                <a:lnTo>
                  <a:pt x="1392" y="240"/>
                </a:lnTo>
                <a:lnTo>
                  <a:pt x="1386" y="234"/>
                </a:lnTo>
                <a:lnTo>
                  <a:pt x="1386" y="228"/>
                </a:lnTo>
                <a:lnTo>
                  <a:pt x="1392" y="228"/>
                </a:lnTo>
                <a:lnTo>
                  <a:pt x="1398" y="228"/>
                </a:lnTo>
                <a:lnTo>
                  <a:pt x="1398" y="234"/>
                </a:lnTo>
                <a:lnTo>
                  <a:pt x="1404" y="234"/>
                </a:lnTo>
                <a:lnTo>
                  <a:pt x="1404" y="240"/>
                </a:lnTo>
                <a:lnTo>
                  <a:pt x="1404" y="246"/>
                </a:lnTo>
                <a:lnTo>
                  <a:pt x="1398" y="246"/>
                </a:lnTo>
                <a:lnTo>
                  <a:pt x="1398" y="252"/>
                </a:lnTo>
                <a:lnTo>
                  <a:pt x="1398" y="258"/>
                </a:lnTo>
                <a:lnTo>
                  <a:pt x="1392" y="258"/>
                </a:lnTo>
                <a:lnTo>
                  <a:pt x="1392" y="264"/>
                </a:lnTo>
                <a:lnTo>
                  <a:pt x="1392" y="270"/>
                </a:lnTo>
                <a:lnTo>
                  <a:pt x="1386" y="270"/>
                </a:lnTo>
                <a:lnTo>
                  <a:pt x="1386" y="276"/>
                </a:lnTo>
                <a:lnTo>
                  <a:pt x="1392" y="276"/>
                </a:lnTo>
                <a:lnTo>
                  <a:pt x="1398" y="276"/>
                </a:lnTo>
                <a:lnTo>
                  <a:pt x="1398" y="282"/>
                </a:lnTo>
                <a:lnTo>
                  <a:pt x="1404" y="282"/>
                </a:lnTo>
                <a:lnTo>
                  <a:pt x="1410" y="288"/>
                </a:lnTo>
                <a:lnTo>
                  <a:pt x="1404" y="288"/>
                </a:lnTo>
                <a:lnTo>
                  <a:pt x="1404" y="294"/>
                </a:lnTo>
                <a:lnTo>
                  <a:pt x="1410" y="294"/>
                </a:lnTo>
                <a:lnTo>
                  <a:pt x="1410" y="300"/>
                </a:lnTo>
                <a:lnTo>
                  <a:pt x="1410" y="306"/>
                </a:lnTo>
                <a:lnTo>
                  <a:pt x="1416" y="306"/>
                </a:lnTo>
                <a:lnTo>
                  <a:pt x="1416" y="312"/>
                </a:lnTo>
                <a:lnTo>
                  <a:pt x="1422" y="318"/>
                </a:lnTo>
                <a:lnTo>
                  <a:pt x="1422" y="324"/>
                </a:lnTo>
                <a:lnTo>
                  <a:pt x="1416" y="324"/>
                </a:lnTo>
                <a:lnTo>
                  <a:pt x="1416" y="330"/>
                </a:lnTo>
                <a:lnTo>
                  <a:pt x="1416" y="336"/>
                </a:lnTo>
                <a:lnTo>
                  <a:pt x="1410" y="336"/>
                </a:lnTo>
                <a:lnTo>
                  <a:pt x="1410" y="342"/>
                </a:lnTo>
                <a:lnTo>
                  <a:pt x="1416" y="342"/>
                </a:lnTo>
                <a:lnTo>
                  <a:pt x="1416" y="348"/>
                </a:lnTo>
                <a:lnTo>
                  <a:pt x="1416" y="354"/>
                </a:lnTo>
                <a:lnTo>
                  <a:pt x="1416" y="360"/>
                </a:lnTo>
                <a:lnTo>
                  <a:pt x="1416" y="366"/>
                </a:lnTo>
                <a:lnTo>
                  <a:pt x="1422" y="366"/>
                </a:lnTo>
                <a:lnTo>
                  <a:pt x="1422" y="372"/>
                </a:lnTo>
                <a:lnTo>
                  <a:pt x="1422" y="378"/>
                </a:lnTo>
                <a:lnTo>
                  <a:pt x="1428" y="378"/>
                </a:lnTo>
                <a:lnTo>
                  <a:pt x="1422" y="378"/>
                </a:lnTo>
                <a:lnTo>
                  <a:pt x="1422" y="384"/>
                </a:lnTo>
                <a:lnTo>
                  <a:pt x="1428" y="384"/>
                </a:lnTo>
                <a:lnTo>
                  <a:pt x="1428" y="390"/>
                </a:lnTo>
                <a:lnTo>
                  <a:pt x="1428" y="396"/>
                </a:lnTo>
                <a:lnTo>
                  <a:pt x="1434" y="396"/>
                </a:lnTo>
                <a:lnTo>
                  <a:pt x="1440" y="402"/>
                </a:lnTo>
                <a:lnTo>
                  <a:pt x="1440" y="408"/>
                </a:lnTo>
                <a:lnTo>
                  <a:pt x="1434" y="408"/>
                </a:lnTo>
                <a:lnTo>
                  <a:pt x="1428" y="408"/>
                </a:lnTo>
                <a:lnTo>
                  <a:pt x="1422" y="408"/>
                </a:lnTo>
                <a:lnTo>
                  <a:pt x="1422" y="414"/>
                </a:lnTo>
                <a:lnTo>
                  <a:pt x="1416" y="414"/>
                </a:lnTo>
                <a:lnTo>
                  <a:pt x="1404" y="420"/>
                </a:lnTo>
                <a:lnTo>
                  <a:pt x="1398" y="420"/>
                </a:lnTo>
                <a:lnTo>
                  <a:pt x="1398" y="426"/>
                </a:lnTo>
                <a:lnTo>
                  <a:pt x="1392" y="426"/>
                </a:lnTo>
                <a:lnTo>
                  <a:pt x="1386" y="426"/>
                </a:lnTo>
                <a:lnTo>
                  <a:pt x="1386" y="432"/>
                </a:lnTo>
                <a:lnTo>
                  <a:pt x="1380" y="426"/>
                </a:lnTo>
                <a:lnTo>
                  <a:pt x="1380" y="432"/>
                </a:lnTo>
                <a:lnTo>
                  <a:pt x="1374" y="426"/>
                </a:lnTo>
                <a:lnTo>
                  <a:pt x="1368" y="426"/>
                </a:lnTo>
                <a:lnTo>
                  <a:pt x="1362" y="426"/>
                </a:lnTo>
                <a:lnTo>
                  <a:pt x="1362" y="420"/>
                </a:lnTo>
                <a:lnTo>
                  <a:pt x="1356" y="420"/>
                </a:lnTo>
                <a:lnTo>
                  <a:pt x="1356" y="414"/>
                </a:lnTo>
                <a:lnTo>
                  <a:pt x="1350" y="408"/>
                </a:lnTo>
                <a:lnTo>
                  <a:pt x="1350" y="414"/>
                </a:lnTo>
                <a:lnTo>
                  <a:pt x="1350" y="420"/>
                </a:lnTo>
                <a:lnTo>
                  <a:pt x="1350" y="426"/>
                </a:lnTo>
                <a:lnTo>
                  <a:pt x="1350" y="432"/>
                </a:lnTo>
                <a:lnTo>
                  <a:pt x="1344" y="432"/>
                </a:lnTo>
                <a:lnTo>
                  <a:pt x="1338" y="432"/>
                </a:lnTo>
                <a:lnTo>
                  <a:pt x="1332" y="432"/>
                </a:lnTo>
                <a:lnTo>
                  <a:pt x="1332" y="438"/>
                </a:lnTo>
                <a:lnTo>
                  <a:pt x="1326" y="438"/>
                </a:lnTo>
                <a:lnTo>
                  <a:pt x="1326" y="444"/>
                </a:lnTo>
                <a:lnTo>
                  <a:pt x="1326" y="456"/>
                </a:lnTo>
                <a:lnTo>
                  <a:pt x="1332" y="456"/>
                </a:lnTo>
                <a:lnTo>
                  <a:pt x="1338" y="456"/>
                </a:lnTo>
                <a:lnTo>
                  <a:pt x="1338" y="462"/>
                </a:lnTo>
                <a:lnTo>
                  <a:pt x="1338" y="468"/>
                </a:lnTo>
                <a:lnTo>
                  <a:pt x="1338" y="474"/>
                </a:lnTo>
                <a:lnTo>
                  <a:pt x="1344" y="474"/>
                </a:lnTo>
                <a:lnTo>
                  <a:pt x="1344" y="480"/>
                </a:lnTo>
                <a:lnTo>
                  <a:pt x="1338" y="480"/>
                </a:lnTo>
                <a:lnTo>
                  <a:pt x="1338" y="486"/>
                </a:lnTo>
                <a:lnTo>
                  <a:pt x="1338" y="492"/>
                </a:lnTo>
                <a:lnTo>
                  <a:pt x="1338" y="498"/>
                </a:lnTo>
                <a:lnTo>
                  <a:pt x="1344" y="498"/>
                </a:lnTo>
                <a:lnTo>
                  <a:pt x="1350" y="498"/>
                </a:lnTo>
                <a:lnTo>
                  <a:pt x="1344" y="498"/>
                </a:lnTo>
                <a:lnTo>
                  <a:pt x="1344" y="504"/>
                </a:lnTo>
                <a:lnTo>
                  <a:pt x="1338" y="504"/>
                </a:lnTo>
                <a:lnTo>
                  <a:pt x="1338" y="510"/>
                </a:lnTo>
                <a:lnTo>
                  <a:pt x="1332" y="510"/>
                </a:lnTo>
                <a:lnTo>
                  <a:pt x="1326" y="510"/>
                </a:lnTo>
                <a:lnTo>
                  <a:pt x="1320" y="510"/>
                </a:lnTo>
                <a:lnTo>
                  <a:pt x="1320" y="516"/>
                </a:lnTo>
                <a:lnTo>
                  <a:pt x="1320" y="522"/>
                </a:lnTo>
                <a:lnTo>
                  <a:pt x="1320" y="528"/>
                </a:lnTo>
                <a:lnTo>
                  <a:pt x="1326" y="528"/>
                </a:lnTo>
                <a:lnTo>
                  <a:pt x="1326" y="534"/>
                </a:lnTo>
                <a:lnTo>
                  <a:pt x="1326" y="540"/>
                </a:lnTo>
                <a:lnTo>
                  <a:pt x="1320" y="546"/>
                </a:lnTo>
                <a:lnTo>
                  <a:pt x="1320" y="552"/>
                </a:lnTo>
                <a:lnTo>
                  <a:pt x="1320" y="558"/>
                </a:lnTo>
                <a:lnTo>
                  <a:pt x="1326" y="558"/>
                </a:lnTo>
                <a:lnTo>
                  <a:pt x="1326" y="564"/>
                </a:lnTo>
                <a:lnTo>
                  <a:pt x="1332" y="564"/>
                </a:lnTo>
                <a:lnTo>
                  <a:pt x="1338" y="564"/>
                </a:lnTo>
                <a:lnTo>
                  <a:pt x="1332" y="570"/>
                </a:lnTo>
                <a:lnTo>
                  <a:pt x="1326" y="570"/>
                </a:lnTo>
                <a:lnTo>
                  <a:pt x="1326" y="576"/>
                </a:lnTo>
                <a:lnTo>
                  <a:pt x="1320" y="576"/>
                </a:lnTo>
                <a:lnTo>
                  <a:pt x="1320" y="570"/>
                </a:lnTo>
                <a:lnTo>
                  <a:pt x="1314" y="570"/>
                </a:lnTo>
                <a:lnTo>
                  <a:pt x="1308" y="576"/>
                </a:lnTo>
                <a:lnTo>
                  <a:pt x="1308" y="582"/>
                </a:lnTo>
                <a:lnTo>
                  <a:pt x="1314" y="582"/>
                </a:lnTo>
                <a:lnTo>
                  <a:pt x="1320" y="582"/>
                </a:lnTo>
                <a:lnTo>
                  <a:pt x="1314" y="582"/>
                </a:lnTo>
                <a:lnTo>
                  <a:pt x="1314" y="588"/>
                </a:lnTo>
                <a:lnTo>
                  <a:pt x="1308" y="588"/>
                </a:lnTo>
                <a:lnTo>
                  <a:pt x="1302" y="588"/>
                </a:lnTo>
                <a:lnTo>
                  <a:pt x="1296" y="588"/>
                </a:lnTo>
                <a:lnTo>
                  <a:pt x="1290" y="588"/>
                </a:lnTo>
                <a:lnTo>
                  <a:pt x="1290" y="594"/>
                </a:lnTo>
                <a:lnTo>
                  <a:pt x="1284" y="594"/>
                </a:lnTo>
                <a:lnTo>
                  <a:pt x="1284" y="600"/>
                </a:lnTo>
                <a:lnTo>
                  <a:pt x="1284" y="606"/>
                </a:lnTo>
                <a:lnTo>
                  <a:pt x="1284" y="612"/>
                </a:lnTo>
                <a:lnTo>
                  <a:pt x="1290" y="618"/>
                </a:lnTo>
                <a:lnTo>
                  <a:pt x="1290" y="624"/>
                </a:lnTo>
                <a:lnTo>
                  <a:pt x="1290" y="630"/>
                </a:lnTo>
                <a:lnTo>
                  <a:pt x="1290" y="636"/>
                </a:lnTo>
                <a:lnTo>
                  <a:pt x="1284" y="636"/>
                </a:lnTo>
                <a:lnTo>
                  <a:pt x="1278" y="636"/>
                </a:lnTo>
                <a:lnTo>
                  <a:pt x="1278" y="630"/>
                </a:lnTo>
                <a:lnTo>
                  <a:pt x="1272" y="630"/>
                </a:lnTo>
                <a:lnTo>
                  <a:pt x="1266" y="630"/>
                </a:lnTo>
                <a:lnTo>
                  <a:pt x="1260" y="630"/>
                </a:lnTo>
                <a:lnTo>
                  <a:pt x="1254" y="630"/>
                </a:lnTo>
                <a:lnTo>
                  <a:pt x="1254" y="636"/>
                </a:lnTo>
                <a:lnTo>
                  <a:pt x="1254" y="642"/>
                </a:lnTo>
                <a:lnTo>
                  <a:pt x="1254" y="648"/>
                </a:lnTo>
                <a:lnTo>
                  <a:pt x="1254" y="654"/>
                </a:lnTo>
                <a:lnTo>
                  <a:pt x="1260" y="654"/>
                </a:lnTo>
                <a:lnTo>
                  <a:pt x="1266" y="654"/>
                </a:lnTo>
                <a:lnTo>
                  <a:pt x="1272" y="654"/>
                </a:lnTo>
                <a:lnTo>
                  <a:pt x="1272" y="660"/>
                </a:lnTo>
                <a:lnTo>
                  <a:pt x="1272" y="666"/>
                </a:lnTo>
                <a:lnTo>
                  <a:pt x="1272" y="672"/>
                </a:lnTo>
                <a:lnTo>
                  <a:pt x="1266" y="672"/>
                </a:lnTo>
                <a:lnTo>
                  <a:pt x="1272" y="672"/>
                </a:lnTo>
                <a:lnTo>
                  <a:pt x="1272" y="678"/>
                </a:lnTo>
                <a:lnTo>
                  <a:pt x="1272" y="684"/>
                </a:lnTo>
                <a:lnTo>
                  <a:pt x="1266" y="684"/>
                </a:lnTo>
                <a:lnTo>
                  <a:pt x="1260" y="684"/>
                </a:lnTo>
                <a:lnTo>
                  <a:pt x="1254" y="684"/>
                </a:lnTo>
                <a:lnTo>
                  <a:pt x="1254" y="690"/>
                </a:lnTo>
                <a:lnTo>
                  <a:pt x="1248" y="690"/>
                </a:lnTo>
                <a:lnTo>
                  <a:pt x="1242" y="690"/>
                </a:lnTo>
                <a:lnTo>
                  <a:pt x="1242" y="696"/>
                </a:lnTo>
                <a:lnTo>
                  <a:pt x="1248" y="696"/>
                </a:lnTo>
                <a:lnTo>
                  <a:pt x="1248" y="702"/>
                </a:lnTo>
                <a:lnTo>
                  <a:pt x="1248" y="708"/>
                </a:lnTo>
                <a:lnTo>
                  <a:pt x="1248" y="714"/>
                </a:lnTo>
                <a:lnTo>
                  <a:pt x="1242" y="714"/>
                </a:lnTo>
                <a:lnTo>
                  <a:pt x="1242" y="720"/>
                </a:lnTo>
                <a:lnTo>
                  <a:pt x="1248" y="720"/>
                </a:lnTo>
                <a:lnTo>
                  <a:pt x="1248" y="726"/>
                </a:lnTo>
                <a:lnTo>
                  <a:pt x="1254" y="726"/>
                </a:lnTo>
                <a:lnTo>
                  <a:pt x="1260" y="738"/>
                </a:lnTo>
                <a:lnTo>
                  <a:pt x="1254" y="738"/>
                </a:lnTo>
                <a:lnTo>
                  <a:pt x="1254" y="744"/>
                </a:lnTo>
                <a:lnTo>
                  <a:pt x="1248" y="744"/>
                </a:lnTo>
                <a:lnTo>
                  <a:pt x="1242" y="738"/>
                </a:lnTo>
                <a:lnTo>
                  <a:pt x="1236" y="744"/>
                </a:lnTo>
                <a:lnTo>
                  <a:pt x="1236" y="738"/>
                </a:lnTo>
                <a:lnTo>
                  <a:pt x="1230" y="738"/>
                </a:lnTo>
                <a:lnTo>
                  <a:pt x="1224" y="738"/>
                </a:lnTo>
                <a:lnTo>
                  <a:pt x="1224" y="744"/>
                </a:lnTo>
                <a:lnTo>
                  <a:pt x="1218" y="744"/>
                </a:lnTo>
                <a:lnTo>
                  <a:pt x="1218" y="750"/>
                </a:lnTo>
                <a:lnTo>
                  <a:pt x="1218" y="756"/>
                </a:lnTo>
                <a:lnTo>
                  <a:pt x="1212" y="756"/>
                </a:lnTo>
                <a:lnTo>
                  <a:pt x="1218" y="762"/>
                </a:lnTo>
                <a:lnTo>
                  <a:pt x="1224" y="762"/>
                </a:lnTo>
                <a:lnTo>
                  <a:pt x="1230" y="768"/>
                </a:lnTo>
                <a:lnTo>
                  <a:pt x="1230" y="774"/>
                </a:lnTo>
                <a:lnTo>
                  <a:pt x="1230" y="780"/>
                </a:lnTo>
                <a:lnTo>
                  <a:pt x="1230" y="774"/>
                </a:lnTo>
                <a:lnTo>
                  <a:pt x="1224" y="780"/>
                </a:lnTo>
                <a:lnTo>
                  <a:pt x="1218" y="780"/>
                </a:lnTo>
                <a:lnTo>
                  <a:pt x="1218" y="786"/>
                </a:lnTo>
                <a:lnTo>
                  <a:pt x="1218" y="792"/>
                </a:lnTo>
                <a:lnTo>
                  <a:pt x="1218" y="798"/>
                </a:lnTo>
                <a:lnTo>
                  <a:pt x="1212" y="798"/>
                </a:lnTo>
                <a:lnTo>
                  <a:pt x="1212" y="804"/>
                </a:lnTo>
                <a:lnTo>
                  <a:pt x="1206" y="804"/>
                </a:lnTo>
                <a:lnTo>
                  <a:pt x="1200" y="804"/>
                </a:lnTo>
                <a:lnTo>
                  <a:pt x="1200" y="810"/>
                </a:lnTo>
                <a:lnTo>
                  <a:pt x="1200" y="816"/>
                </a:lnTo>
                <a:lnTo>
                  <a:pt x="1206" y="816"/>
                </a:lnTo>
                <a:lnTo>
                  <a:pt x="1212" y="816"/>
                </a:lnTo>
                <a:lnTo>
                  <a:pt x="1218" y="822"/>
                </a:lnTo>
                <a:lnTo>
                  <a:pt x="1218" y="828"/>
                </a:lnTo>
                <a:lnTo>
                  <a:pt x="1212" y="828"/>
                </a:lnTo>
                <a:lnTo>
                  <a:pt x="1212" y="834"/>
                </a:lnTo>
                <a:lnTo>
                  <a:pt x="1212" y="840"/>
                </a:lnTo>
                <a:lnTo>
                  <a:pt x="1212" y="846"/>
                </a:lnTo>
                <a:lnTo>
                  <a:pt x="1212" y="852"/>
                </a:lnTo>
                <a:lnTo>
                  <a:pt x="1212" y="858"/>
                </a:lnTo>
                <a:lnTo>
                  <a:pt x="1212" y="864"/>
                </a:lnTo>
                <a:lnTo>
                  <a:pt x="1212" y="870"/>
                </a:lnTo>
                <a:lnTo>
                  <a:pt x="1218" y="870"/>
                </a:lnTo>
                <a:lnTo>
                  <a:pt x="1218" y="876"/>
                </a:lnTo>
                <a:lnTo>
                  <a:pt x="1218" y="882"/>
                </a:lnTo>
                <a:lnTo>
                  <a:pt x="1212" y="882"/>
                </a:lnTo>
                <a:lnTo>
                  <a:pt x="1212" y="876"/>
                </a:lnTo>
                <a:lnTo>
                  <a:pt x="1212" y="882"/>
                </a:lnTo>
                <a:lnTo>
                  <a:pt x="1206" y="882"/>
                </a:lnTo>
                <a:lnTo>
                  <a:pt x="1200" y="882"/>
                </a:lnTo>
                <a:lnTo>
                  <a:pt x="1194" y="882"/>
                </a:lnTo>
                <a:lnTo>
                  <a:pt x="1188" y="882"/>
                </a:lnTo>
                <a:lnTo>
                  <a:pt x="1182" y="882"/>
                </a:lnTo>
                <a:lnTo>
                  <a:pt x="1176" y="882"/>
                </a:lnTo>
                <a:lnTo>
                  <a:pt x="1176" y="888"/>
                </a:lnTo>
                <a:lnTo>
                  <a:pt x="1170" y="888"/>
                </a:lnTo>
                <a:lnTo>
                  <a:pt x="1164" y="888"/>
                </a:lnTo>
                <a:lnTo>
                  <a:pt x="1158" y="888"/>
                </a:lnTo>
                <a:lnTo>
                  <a:pt x="1158" y="894"/>
                </a:lnTo>
                <a:lnTo>
                  <a:pt x="1158" y="900"/>
                </a:lnTo>
                <a:lnTo>
                  <a:pt x="1158" y="906"/>
                </a:lnTo>
                <a:lnTo>
                  <a:pt x="1152" y="906"/>
                </a:lnTo>
                <a:lnTo>
                  <a:pt x="1152" y="912"/>
                </a:lnTo>
                <a:lnTo>
                  <a:pt x="1152" y="918"/>
                </a:lnTo>
                <a:lnTo>
                  <a:pt x="1146" y="918"/>
                </a:lnTo>
                <a:lnTo>
                  <a:pt x="1146" y="924"/>
                </a:lnTo>
                <a:lnTo>
                  <a:pt x="1146" y="930"/>
                </a:lnTo>
                <a:lnTo>
                  <a:pt x="1140" y="930"/>
                </a:lnTo>
                <a:lnTo>
                  <a:pt x="1140" y="936"/>
                </a:lnTo>
                <a:lnTo>
                  <a:pt x="1140" y="942"/>
                </a:lnTo>
                <a:lnTo>
                  <a:pt x="1134" y="942"/>
                </a:lnTo>
                <a:lnTo>
                  <a:pt x="1134" y="948"/>
                </a:lnTo>
                <a:lnTo>
                  <a:pt x="1134" y="954"/>
                </a:lnTo>
                <a:lnTo>
                  <a:pt x="1134" y="960"/>
                </a:lnTo>
                <a:lnTo>
                  <a:pt x="1140" y="960"/>
                </a:lnTo>
                <a:lnTo>
                  <a:pt x="1140" y="966"/>
                </a:lnTo>
                <a:lnTo>
                  <a:pt x="1140" y="972"/>
                </a:lnTo>
                <a:lnTo>
                  <a:pt x="1134" y="972"/>
                </a:lnTo>
                <a:lnTo>
                  <a:pt x="1134" y="978"/>
                </a:lnTo>
                <a:lnTo>
                  <a:pt x="1134" y="984"/>
                </a:lnTo>
                <a:lnTo>
                  <a:pt x="1134" y="990"/>
                </a:lnTo>
                <a:lnTo>
                  <a:pt x="1134" y="996"/>
                </a:lnTo>
                <a:lnTo>
                  <a:pt x="1140" y="996"/>
                </a:lnTo>
                <a:lnTo>
                  <a:pt x="1134" y="996"/>
                </a:lnTo>
                <a:lnTo>
                  <a:pt x="1134" y="1002"/>
                </a:lnTo>
                <a:lnTo>
                  <a:pt x="1134" y="1008"/>
                </a:lnTo>
                <a:lnTo>
                  <a:pt x="1128" y="1008"/>
                </a:lnTo>
                <a:lnTo>
                  <a:pt x="1122" y="1008"/>
                </a:lnTo>
                <a:lnTo>
                  <a:pt x="1122" y="1002"/>
                </a:lnTo>
                <a:lnTo>
                  <a:pt x="1122" y="996"/>
                </a:lnTo>
                <a:lnTo>
                  <a:pt x="1116" y="996"/>
                </a:lnTo>
                <a:lnTo>
                  <a:pt x="1110" y="996"/>
                </a:lnTo>
                <a:lnTo>
                  <a:pt x="1110" y="1002"/>
                </a:lnTo>
                <a:lnTo>
                  <a:pt x="1104" y="1002"/>
                </a:lnTo>
                <a:lnTo>
                  <a:pt x="1104" y="1008"/>
                </a:lnTo>
                <a:lnTo>
                  <a:pt x="1098" y="1008"/>
                </a:lnTo>
                <a:lnTo>
                  <a:pt x="1098" y="1002"/>
                </a:lnTo>
                <a:lnTo>
                  <a:pt x="1092" y="996"/>
                </a:lnTo>
                <a:lnTo>
                  <a:pt x="1086" y="996"/>
                </a:lnTo>
                <a:lnTo>
                  <a:pt x="1086" y="1002"/>
                </a:lnTo>
                <a:lnTo>
                  <a:pt x="1080" y="1002"/>
                </a:lnTo>
                <a:lnTo>
                  <a:pt x="1080" y="1008"/>
                </a:lnTo>
                <a:lnTo>
                  <a:pt x="1086" y="1008"/>
                </a:lnTo>
                <a:lnTo>
                  <a:pt x="1086" y="1014"/>
                </a:lnTo>
                <a:lnTo>
                  <a:pt x="1080" y="1014"/>
                </a:lnTo>
                <a:lnTo>
                  <a:pt x="1080" y="1020"/>
                </a:lnTo>
                <a:lnTo>
                  <a:pt x="1074" y="1020"/>
                </a:lnTo>
                <a:lnTo>
                  <a:pt x="1074" y="1026"/>
                </a:lnTo>
                <a:lnTo>
                  <a:pt x="1068" y="1026"/>
                </a:lnTo>
                <a:lnTo>
                  <a:pt x="1062" y="1026"/>
                </a:lnTo>
                <a:lnTo>
                  <a:pt x="1062" y="1032"/>
                </a:lnTo>
                <a:lnTo>
                  <a:pt x="1056" y="1032"/>
                </a:lnTo>
                <a:lnTo>
                  <a:pt x="1056" y="1038"/>
                </a:lnTo>
                <a:lnTo>
                  <a:pt x="1050" y="1044"/>
                </a:lnTo>
                <a:lnTo>
                  <a:pt x="1050" y="1050"/>
                </a:lnTo>
                <a:lnTo>
                  <a:pt x="1050" y="1056"/>
                </a:lnTo>
                <a:lnTo>
                  <a:pt x="1044" y="1056"/>
                </a:lnTo>
                <a:lnTo>
                  <a:pt x="1044" y="1062"/>
                </a:lnTo>
                <a:lnTo>
                  <a:pt x="1050" y="1062"/>
                </a:lnTo>
                <a:lnTo>
                  <a:pt x="1050" y="1068"/>
                </a:lnTo>
                <a:lnTo>
                  <a:pt x="1056" y="1068"/>
                </a:lnTo>
                <a:lnTo>
                  <a:pt x="1062" y="1068"/>
                </a:lnTo>
                <a:lnTo>
                  <a:pt x="1062" y="1074"/>
                </a:lnTo>
                <a:lnTo>
                  <a:pt x="1068" y="1074"/>
                </a:lnTo>
                <a:lnTo>
                  <a:pt x="1074" y="1074"/>
                </a:lnTo>
                <a:lnTo>
                  <a:pt x="1074" y="1080"/>
                </a:lnTo>
                <a:lnTo>
                  <a:pt x="1074" y="1086"/>
                </a:lnTo>
                <a:lnTo>
                  <a:pt x="1080" y="1086"/>
                </a:lnTo>
                <a:lnTo>
                  <a:pt x="1080" y="1092"/>
                </a:lnTo>
                <a:lnTo>
                  <a:pt x="1074" y="1092"/>
                </a:lnTo>
                <a:lnTo>
                  <a:pt x="1074" y="1098"/>
                </a:lnTo>
                <a:lnTo>
                  <a:pt x="1080" y="1098"/>
                </a:lnTo>
                <a:lnTo>
                  <a:pt x="1080" y="1104"/>
                </a:lnTo>
                <a:lnTo>
                  <a:pt x="1086" y="1104"/>
                </a:lnTo>
                <a:lnTo>
                  <a:pt x="1086" y="1110"/>
                </a:lnTo>
                <a:lnTo>
                  <a:pt x="1092" y="1110"/>
                </a:lnTo>
                <a:lnTo>
                  <a:pt x="1092" y="1116"/>
                </a:lnTo>
                <a:lnTo>
                  <a:pt x="1086" y="1122"/>
                </a:lnTo>
                <a:lnTo>
                  <a:pt x="1092" y="1122"/>
                </a:lnTo>
                <a:lnTo>
                  <a:pt x="1092" y="1128"/>
                </a:lnTo>
                <a:lnTo>
                  <a:pt x="1098" y="1134"/>
                </a:lnTo>
                <a:lnTo>
                  <a:pt x="1104" y="1134"/>
                </a:lnTo>
                <a:lnTo>
                  <a:pt x="1104" y="1128"/>
                </a:lnTo>
                <a:lnTo>
                  <a:pt x="1110" y="1134"/>
                </a:lnTo>
                <a:lnTo>
                  <a:pt x="1116" y="1134"/>
                </a:lnTo>
                <a:lnTo>
                  <a:pt x="1116" y="1140"/>
                </a:lnTo>
                <a:lnTo>
                  <a:pt x="1122" y="1140"/>
                </a:lnTo>
                <a:lnTo>
                  <a:pt x="1128" y="1140"/>
                </a:lnTo>
                <a:lnTo>
                  <a:pt x="1128" y="1146"/>
                </a:lnTo>
                <a:lnTo>
                  <a:pt x="1134" y="1146"/>
                </a:lnTo>
                <a:lnTo>
                  <a:pt x="1134" y="1152"/>
                </a:lnTo>
                <a:lnTo>
                  <a:pt x="1134" y="1158"/>
                </a:lnTo>
                <a:lnTo>
                  <a:pt x="1134" y="1164"/>
                </a:lnTo>
                <a:lnTo>
                  <a:pt x="1134" y="1170"/>
                </a:lnTo>
                <a:lnTo>
                  <a:pt x="1128" y="1170"/>
                </a:lnTo>
                <a:lnTo>
                  <a:pt x="1128" y="1176"/>
                </a:lnTo>
                <a:lnTo>
                  <a:pt x="1134" y="1182"/>
                </a:lnTo>
                <a:lnTo>
                  <a:pt x="1134" y="1188"/>
                </a:lnTo>
                <a:lnTo>
                  <a:pt x="1140" y="1188"/>
                </a:lnTo>
                <a:lnTo>
                  <a:pt x="1140" y="1194"/>
                </a:lnTo>
                <a:lnTo>
                  <a:pt x="1146" y="1194"/>
                </a:lnTo>
                <a:lnTo>
                  <a:pt x="1140" y="1194"/>
                </a:lnTo>
                <a:lnTo>
                  <a:pt x="1140" y="1200"/>
                </a:lnTo>
                <a:lnTo>
                  <a:pt x="1134" y="1200"/>
                </a:lnTo>
                <a:lnTo>
                  <a:pt x="1134" y="1206"/>
                </a:lnTo>
                <a:lnTo>
                  <a:pt x="1128" y="1206"/>
                </a:lnTo>
                <a:lnTo>
                  <a:pt x="1128" y="1200"/>
                </a:lnTo>
                <a:lnTo>
                  <a:pt x="1122" y="1194"/>
                </a:lnTo>
                <a:lnTo>
                  <a:pt x="1122" y="1188"/>
                </a:lnTo>
                <a:lnTo>
                  <a:pt x="1116" y="1188"/>
                </a:lnTo>
                <a:lnTo>
                  <a:pt x="1116" y="1182"/>
                </a:lnTo>
                <a:lnTo>
                  <a:pt x="1116" y="1188"/>
                </a:lnTo>
                <a:lnTo>
                  <a:pt x="1110" y="1188"/>
                </a:lnTo>
                <a:lnTo>
                  <a:pt x="1110" y="1194"/>
                </a:lnTo>
                <a:lnTo>
                  <a:pt x="1110" y="1200"/>
                </a:lnTo>
                <a:lnTo>
                  <a:pt x="1110" y="1206"/>
                </a:lnTo>
                <a:lnTo>
                  <a:pt x="1104" y="1206"/>
                </a:lnTo>
                <a:lnTo>
                  <a:pt x="1104" y="1200"/>
                </a:lnTo>
                <a:lnTo>
                  <a:pt x="1098" y="1206"/>
                </a:lnTo>
                <a:lnTo>
                  <a:pt x="1098" y="1200"/>
                </a:lnTo>
                <a:lnTo>
                  <a:pt x="1098" y="1206"/>
                </a:lnTo>
                <a:lnTo>
                  <a:pt x="1092" y="1206"/>
                </a:lnTo>
                <a:lnTo>
                  <a:pt x="1092" y="1200"/>
                </a:lnTo>
                <a:lnTo>
                  <a:pt x="1086" y="1200"/>
                </a:lnTo>
                <a:lnTo>
                  <a:pt x="1086" y="1206"/>
                </a:lnTo>
                <a:lnTo>
                  <a:pt x="1080" y="1206"/>
                </a:lnTo>
                <a:lnTo>
                  <a:pt x="1080" y="1212"/>
                </a:lnTo>
                <a:lnTo>
                  <a:pt x="1074" y="1212"/>
                </a:lnTo>
                <a:lnTo>
                  <a:pt x="1074" y="1218"/>
                </a:lnTo>
                <a:lnTo>
                  <a:pt x="1074" y="1224"/>
                </a:lnTo>
                <a:lnTo>
                  <a:pt x="1068" y="1224"/>
                </a:lnTo>
                <a:lnTo>
                  <a:pt x="1062" y="1224"/>
                </a:lnTo>
                <a:lnTo>
                  <a:pt x="1056" y="1224"/>
                </a:lnTo>
                <a:lnTo>
                  <a:pt x="1056" y="1218"/>
                </a:lnTo>
                <a:lnTo>
                  <a:pt x="1050" y="1224"/>
                </a:lnTo>
                <a:lnTo>
                  <a:pt x="1050" y="1230"/>
                </a:lnTo>
                <a:lnTo>
                  <a:pt x="1044" y="1230"/>
                </a:lnTo>
                <a:lnTo>
                  <a:pt x="1044" y="1236"/>
                </a:lnTo>
                <a:lnTo>
                  <a:pt x="1038" y="1236"/>
                </a:lnTo>
                <a:lnTo>
                  <a:pt x="1038" y="1242"/>
                </a:lnTo>
                <a:lnTo>
                  <a:pt x="1032" y="1242"/>
                </a:lnTo>
                <a:lnTo>
                  <a:pt x="1032" y="1248"/>
                </a:lnTo>
                <a:lnTo>
                  <a:pt x="1032" y="1254"/>
                </a:lnTo>
                <a:lnTo>
                  <a:pt x="1032" y="1260"/>
                </a:lnTo>
                <a:lnTo>
                  <a:pt x="1026" y="1266"/>
                </a:lnTo>
                <a:lnTo>
                  <a:pt x="1026" y="1272"/>
                </a:lnTo>
                <a:lnTo>
                  <a:pt x="1020" y="1272"/>
                </a:lnTo>
                <a:lnTo>
                  <a:pt x="1020" y="1278"/>
                </a:lnTo>
                <a:lnTo>
                  <a:pt x="1014" y="1278"/>
                </a:lnTo>
                <a:lnTo>
                  <a:pt x="1014" y="1284"/>
                </a:lnTo>
                <a:lnTo>
                  <a:pt x="1008" y="1284"/>
                </a:lnTo>
                <a:lnTo>
                  <a:pt x="1008" y="1290"/>
                </a:lnTo>
                <a:lnTo>
                  <a:pt x="1002" y="1290"/>
                </a:lnTo>
                <a:lnTo>
                  <a:pt x="1002" y="1296"/>
                </a:lnTo>
                <a:lnTo>
                  <a:pt x="1002" y="1302"/>
                </a:lnTo>
                <a:lnTo>
                  <a:pt x="1002" y="1308"/>
                </a:lnTo>
                <a:lnTo>
                  <a:pt x="996" y="1308"/>
                </a:lnTo>
                <a:lnTo>
                  <a:pt x="996" y="1314"/>
                </a:lnTo>
                <a:lnTo>
                  <a:pt x="990" y="1314"/>
                </a:lnTo>
                <a:lnTo>
                  <a:pt x="984" y="1314"/>
                </a:lnTo>
                <a:lnTo>
                  <a:pt x="978" y="1308"/>
                </a:lnTo>
                <a:lnTo>
                  <a:pt x="972" y="1308"/>
                </a:lnTo>
                <a:lnTo>
                  <a:pt x="966" y="1308"/>
                </a:lnTo>
                <a:lnTo>
                  <a:pt x="960" y="1308"/>
                </a:lnTo>
                <a:lnTo>
                  <a:pt x="960" y="1302"/>
                </a:lnTo>
                <a:lnTo>
                  <a:pt x="954" y="1308"/>
                </a:lnTo>
                <a:lnTo>
                  <a:pt x="954" y="1302"/>
                </a:lnTo>
                <a:lnTo>
                  <a:pt x="948" y="1302"/>
                </a:lnTo>
                <a:lnTo>
                  <a:pt x="948" y="1296"/>
                </a:lnTo>
                <a:lnTo>
                  <a:pt x="942" y="1296"/>
                </a:lnTo>
                <a:lnTo>
                  <a:pt x="942" y="1290"/>
                </a:lnTo>
                <a:lnTo>
                  <a:pt x="936" y="1290"/>
                </a:lnTo>
                <a:lnTo>
                  <a:pt x="936" y="1284"/>
                </a:lnTo>
                <a:lnTo>
                  <a:pt x="930" y="1284"/>
                </a:lnTo>
                <a:lnTo>
                  <a:pt x="924" y="1284"/>
                </a:lnTo>
                <a:lnTo>
                  <a:pt x="924" y="1278"/>
                </a:lnTo>
                <a:lnTo>
                  <a:pt x="930" y="1278"/>
                </a:lnTo>
                <a:lnTo>
                  <a:pt x="924" y="1278"/>
                </a:lnTo>
                <a:lnTo>
                  <a:pt x="924" y="1272"/>
                </a:lnTo>
                <a:lnTo>
                  <a:pt x="918" y="1272"/>
                </a:lnTo>
                <a:lnTo>
                  <a:pt x="918" y="1266"/>
                </a:lnTo>
                <a:lnTo>
                  <a:pt x="912" y="1266"/>
                </a:lnTo>
                <a:lnTo>
                  <a:pt x="912" y="1260"/>
                </a:lnTo>
                <a:lnTo>
                  <a:pt x="912" y="1254"/>
                </a:lnTo>
                <a:lnTo>
                  <a:pt x="912" y="1248"/>
                </a:lnTo>
                <a:lnTo>
                  <a:pt x="912" y="1242"/>
                </a:lnTo>
                <a:lnTo>
                  <a:pt x="906" y="1242"/>
                </a:lnTo>
                <a:lnTo>
                  <a:pt x="912" y="1242"/>
                </a:lnTo>
                <a:lnTo>
                  <a:pt x="912" y="1236"/>
                </a:lnTo>
                <a:lnTo>
                  <a:pt x="912" y="1230"/>
                </a:lnTo>
                <a:lnTo>
                  <a:pt x="906" y="1230"/>
                </a:lnTo>
                <a:lnTo>
                  <a:pt x="906" y="1224"/>
                </a:lnTo>
                <a:lnTo>
                  <a:pt x="906" y="1218"/>
                </a:lnTo>
                <a:lnTo>
                  <a:pt x="900" y="1218"/>
                </a:lnTo>
                <a:lnTo>
                  <a:pt x="900" y="1212"/>
                </a:lnTo>
                <a:lnTo>
                  <a:pt x="894" y="1212"/>
                </a:lnTo>
                <a:lnTo>
                  <a:pt x="888" y="1212"/>
                </a:lnTo>
                <a:lnTo>
                  <a:pt x="888" y="1206"/>
                </a:lnTo>
                <a:lnTo>
                  <a:pt x="882" y="1206"/>
                </a:lnTo>
                <a:lnTo>
                  <a:pt x="882" y="1200"/>
                </a:lnTo>
                <a:lnTo>
                  <a:pt x="882" y="1194"/>
                </a:lnTo>
                <a:lnTo>
                  <a:pt x="876" y="1194"/>
                </a:lnTo>
                <a:lnTo>
                  <a:pt x="870" y="1194"/>
                </a:lnTo>
                <a:lnTo>
                  <a:pt x="870" y="1188"/>
                </a:lnTo>
                <a:lnTo>
                  <a:pt x="864" y="1188"/>
                </a:lnTo>
                <a:lnTo>
                  <a:pt x="864" y="1182"/>
                </a:lnTo>
                <a:lnTo>
                  <a:pt x="864" y="1176"/>
                </a:lnTo>
                <a:lnTo>
                  <a:pt x="858" y="1176"/>
                </a:lnTo>
                <a:lnTo>
                  <a:pt x="858" y="1170"/>
                </a:lnTo>
                <a:lnTo>
                  <a:pt x="852" y="1170"/>
                </a:lnTo>
                <a:lnTo>
                  <a:pt x="852" y="1164"/>
                </a:lnTo>
                <a:lnTo>
                  <a:pt x="846" y="1164"/>
                </a:lnTo>
                <a:lnTo>
                  <a:pt x="846" y="1158"/>
                </a:lnTo>
                <a:lnTo>
                  <a:pt x="846" y="1152"/>
                </a:lnTo>
                <a:lnTo>
                  <a:pt x="840" y="1152"/>
                </a:lnTo>
                <a:lnTo>
                  <a:pt x="840" y="1146"/>
                </a:lnTo>
                <a:lnTo>
                  <a:pt x="834" y="1146"/>
                </a:lnTo>
                <a:lnTo>
                  <a:pt x="828" y="1146"/>
                </a:lnTo>
                <a:lnTo>
                  <a:pt x="828" y="1152"/>
                </a:lnTo>
                <a:lnTo>
                  <a:pt x="822" y="1152"/>
                </a:lnTo>
                <a:lnTo>
                  <a:pt x="816" y="1152"/>
                </a:lnTo>
                <a:lnTo>
                  <a:pt x="816" y="1146"/>
                </a:lnTo>
                <a:lnTo>
                  <a:pt x="810" y="1140"/>
                </a:lnTo>
                <a:lnTo>
                  <a:pt x="810" y="1134"/>
                </a:lnTo>
                <a:lnTo>
                  <a:pt x="804" y="1134"/>
                </a:lnTo>
                <a:lnTo>
                  <a:pt x="798" y="1128"/>
                </a:lnTo>
                <a:lnTo>
                  <a:pt x="804" y="1128"/>
                </a:lnTo>
                <a:lnTo>
                  <a:pt x="804" y="1122"/>
                </a:lnTo>
                <a:lnTo>
                  <a:pt x="804" y="1116"/>
                </a:lnTo>
                <a:lnTo>
                  <a:pt x="804" y="1110"/>
                </a:lnTo>
                <a:lnTo>
                  <a:pt x="798" y="1110"/>
                </a:lnTo>
                <a:lnTo>
                  <a:pt x="792" y="1110"/>
                </a:lnTo>
                <a:lnTo>
                  <a:pt x="786" y="1110"/>
                </a:lnTo>
                <a:lnTo>
                  <a:pt x="780" y="1110"/>
                </a:lnTo>
                <a:lnTo>
                  <a:pt x="774" y="1110"/>
                </a:lnTo>
                <a:lnTo>
                  <a:pt x="768" y="1110"/>
                </a:lnTo>
                <a:lnTo>
                  <a:pt x="768" y="1116"/>
                </a:lnTo>
                <a:lnTo>
                  <a:pt x="762" y="1116"/>
                </a:lnTo>
                <a:lnTo>
                  <a:pt x="762" y="1122"/>
                </a:lnTo>
                <a:lnTo>
                  <a:pt x="756" y="1122"/>
                </a:lnTo>
                <a:lnTo>
                  <a:pt x="756" y="1116"/>
                </a:lnTo>
                <a:lnTo>
                  <a:pt x="756" y="1110"/>
                </a:lnTo>
                <a:lnTo>
                  <a:pt x="750" y="1110"/>
                </a:lnTo>
                <a:lnTo>
                  <a:pt x="750" y="1104"/>
                </a:lnTo>
                <a:lnTo>
                  <a:pt x="750" y="1098"/>
                </a:lnTo>
                <a:lnTo>
                  <a:pt x="744" y="1098"/>
                </a:lnTo>
                <a:lnTo>
                  <a:pt x="744" y="1104"/>
                </a:lnTo>
                <a:lnTo>
                  <a:pt x="744" y="1098"/>
                </a:lnTo>
                <a:lnTo>
                  <a:pt x="738" y="1098"/>
                </a:lnTo>
                <a:lnTo>
                  <a:pt x="744" y="1098"/>
                </a:lnTo>
                <a:lnTo>
                  <a:pt x="744" y="1092"/>
                </a:lnTo>
                <a:lnTo>
                  <a:pt x="738" y="1092"/>
                </a:lnTo>
                <a:lnTo>
                  <a:pt x="738" y="1086"/>
                </a:lnTo>
                <a:lnTo>
                  <a:pt x="732" y="1086"/>
                </a:lnTo>
                <a:lnTo>
                  <a:pt x="726" y="1092"/>
                </a:lnTo>
                <a:lnTo>
                  <a:pt x="720" y="1092"/>
                </a:lnTo>
                <a:lnTo>
                  <a:pt x="720" y="1086"/>
                </a:lnTo>
                <a:lnTo>
                  <a:pt x="720" y="1080"/>
                </a:lnTo>
                <a:lnTo>
                  <a:pt x="720" y="1074"/>
                </a:lnTo>
                <a:lnTo>
                  <a:pt x="714" y="1074"/>
                </a:lnTo>
                <a:lnTo>
                  <a:pt x="714" y="1068"/>
                </a:lnTo>
                <a:lnTo>
                  <a:pt x="714" y="1062"/>
                </a:lnTo>
                <a:lnTo>
                  <a:pt x="720" y="1062"/>
                </a:lnTo>
                <a:lnTo>
                  <a:pt x="720" y="1056"/>
                </a:lnTo>
                <a:lnTo>
                  <a:pt x="726" y="1056"/>
                </a:lnTo>
                <a:lnTo>
                  <a:pt x="726" y="1062"/>
                </a:lnTo>
                <a:lnTo>
                  <a:pt x="732" y="1062"/>
                </a:lnTo>
                <a:lnTo>
                  <a:pt x="732" y="1056"/>
                </a:lnTo>
                <a:lnTo>
                  <a:pt x="726" y="1056"/>
                </a:lnTo>
                <a:lnTo>
                  <a:pt x="726" y="1050"/>
                </a:lnTo>
                <a:lnTo>
                  <a:pt x="732" y="1050"/>
                </a:lnTo>
                <a:lnTo>
                  <a:pt x="732" y="1044"/>
                </a:lnTo>
                <a:lnTo>
                  <a:pt x="726" y="1044"/>
                </a:lnTo>
                <a:lnTo>
                  <a:pt x="732" y="1044"/>
                </a:lnTo>
                <a:lnTo>
                  <a:pt x="732" y="1050"/>
                </a:lnTo>
                <a:lnTo>
                  <a:pt x="738" y="1044"/>
                </a:lnTo>
                <a:lnTo>
                  <a:pt x="738" y="1038"/>
                </a:lnTo>
                <a:lnTo>
                  <a:pt x="738" y="1032"/>
                </a:lnTo>
                <a:lnTo>
                  <a:pt x="744" y="1032"/>
                </a:lnTo>
                <a:lnTo>
                  <a:pt x="744" y="1038"/>
                </a:lnTo>
                <a:lnTo>
                  <a:pt x="750" y="1038"/>
                </a:lnTo>
                <a:lnTo>
                  <a:pt x="750" y="1032"/>
                </a:lnTo>
                <a:lnTo>
                  <a:pt x="744" y="1032"/>
                </a:lnTo>
                <a:lnTo>
                  <a:pt x="750" y="1032"/>
                </a:lnTo>
                <a:lnTo>
                  <a:pt x="756" y="1032"/>
                </a:lnTo>
                <a:lnTo>
                  <a:pt x="762" y="1032"/>
                </a:lnTo>
                <a:lnTo>
                  <a:pt x="762" y="1026"/>
                </a:lnTo>
                <a:lnTo>
                  <a:pt x="762" y="1020"/>
                </a:lnTo>
                <a:lnTo>
                  <a:pt x="768" y="1020"/>
                </a:lnTo>
                <a:lnTo>
                  <a:pt x="768" y="1014"/>
                </a:lnTo>
                <a:lnTo>
                  <a:pt x="762" y="1014"/>
                </a:lnTo>
                <a:lnTo>
                  <a:pt x="768" y="1014"/>
                </a:lnTo>
                <a:lnTo>
                  <a:pt x="768" y="1008"/>
                </a:lnTo>
                <a:lnTo>
                  <a:pt x="774" y="1014"/>
                </a:lnTo>
                <a:lnTo>
                  <a:pt x="780" y="1014"/>
                </a:lnTo>
                <a:lnTo>
                  <a:pt x="780" y="1020"/>
                </a:lnTo>
                <a:lnTo>
                  <a:pt x="786" y="1020"/>
                </a:lnTo>
                <a:lnTo>
                  <a:pt x="786" y="1014"/>
                </a:lnTo>
                <a:lnTo>
                  <a:pt x="792" y="1014"/>
                </a:lnTo>
                <a:lnTo>
                  <a:pt x="792" y="1008"/>
                </a:lnTo>
                <a:lnTo>
                  <a:pt x="798" y="1002"/>
                </a:lnTo>
                <a:lnTo>
                  <a:pt x="798" y="996"/>
                </a:lnTo>
                <a:lnTo>
                  <a:pt x="804" y="996"/>
                </a:lnTo>
                <a:lnTo>
                  <a:pt x="804" y="990"/>
                </a:lnTo>
                <a:lnTo>
                  <a:pt x="810" y="990"/>
                </a:lnTo>
                <a:lnTo>
                  <a:pt x="804" y="984"/>
                </a:lnTo>
                <a:lnTo>
                  <a:pt x="804" y="978"/>
                </a:lnTo>
                <a:lnTo>
                  <a:pt x="798" y="978"/>
                </a:lnTo>
                <a:lnTo>
                  <a:pt x="804" y="978"/>
                </a:lnTo>
                <a:lnTo>
                  <a:pt x="810" y="978"/>
                </a:lnTo>
                <a:lnTo>
                  <a:pt x="810" y="972"/>
                </a:lnTo>
                <a:lnTo>
                  <a:pt x="810" y="966"/>
                </a:lnTo>
                <a:lnTo>
                  <a:pt x="810" y="960"/>
                </a:lnTo>
                <a:lnTo>
                  <a:pt x="816" y="960"/>
                </a:lnTo>
                <a:lnTo>
                  <a:pt x="816" y="954"/>
                </a:lnTo>
                <a:lnTo>
                  <a:pt x="822" y="954"/>
                </a:lnTo>
                <a:lnTo>
                  <a:pt x="822" y="948"/>
                </a:lnTo>
                <a:lnTo>
                  <a:pt x="828" y="948"/>
                </a:lnTo>
                <a:lnTo>
                  <a:pt x="828" y="942"/>
                </a:lnTo>
                <a:lnTo>
                  <a:pt x="822" y="942"/>
                </a:lnTo>
                <a:lnTo>
                  <a:pt x="822" y="936"/>
                </a:lnTo>
                <a:lnTo>
                  <a:pt x="816" y="930"/>
                </a:lnTo>
                <a:lnTo>
                  <a:pt x="816" y="924"/>
                </a:lnTo>
                <a:lnTo>
                  <a:pt x="810" y="924"/>
                </a:lnTo>
                <a:lnTo>
                  <a:pt x="804" y="924"/>
                </a:lnTo>
                <a:lnTo>
                  <a:pt x="804" y="918"/>
                </a:lnTo>
                <a:lnTo>
                  <a:pt x="798" y="918"/>
                </a:lnTo>
                <a:lnTo>
                  <a:pt x="792" y="912"/>
                </a:lnTo>
                <a:lnTo>
                  <a:pt x="792" y="906"/>
                </a:lnTo>
                <a:lnTo>
                  <a:pt x="786" y="906"/>
                </a:lnTo>
                <a:lnTo>
                  <a:pt x="786" y="900"/>
                </a:lnTo>
                <a:lnTo>
                  <a:pt x="780" y="900"/>
                </a:lnTo>
                <a:lnTo>
                  <a:pt x="774" y="900"/>
                </a:lnTo>
                <a:lnTo>
                  <a:pt x="774" y="894"/>
                </a:lnTo>
                <a:lnTo>
                  <a:pt x="768" y="888"/>
                </a:lnTo>
                <a:lnTo>
                  <a:pt x="762" y="888"/>
                </a:lnTo>
                <a:lnTo>
                  <a:pt x="756" y="888"/>
                </a:lnTo>
                <a:lnTo>
                  <a:pt x="750" y="888"/>
                </a:lnTo>
                <a:lnTo>
                  <a:pt x="750" y="894"/>
                </a:lnTo>
                <a:lnTo>
                  <a:pt x="750" y="888"/>
                </a:lnTo>
                <a:lnTo>
                  <a:pt x="750" y="894"/>
                </a:lnTo>
                <a:lnTo>
                  <a:pt x="744" y="894"/>
                </a:lnTo>
                <a:lnTo>
                  <a:pt x="744" y="888"/>
                </a:lnTo>
                <a:lnTo>
                  <a:pt x="744" y="894"/>
                </a:lnTo>
                <a:lnTo>
                  <a:pt x="738" y="888"/>
                </a:lnTo>
                <a:lnTo>
                  <a:pt x="732" y="888"/>
                </a:lnTo>
                <a:lnTo>
                  <a:pt x="726" y="888"/>
                </a:lnTo>
                <a:lnTo>
                  <a:pt x="720" y="888"/>
                </a:lnTo>
                <a:lnTo>
                  <a:pt x="714" y="882"/>
                </a:lnTo>
                <a:lnTo>
                  <a:pt x="714" y="888"/>
                </a:lnTo>
                <a:lnTo>
                  <a:pt x="714" y="894"/>
                </a:lnTo>
                <a:lnTo>
                  <a:pt x="714" y="900"/>
                </a:lnTo>
                <a:lnTo>
                  <a:pt x="708" y="900"/>
                </a:lnTo>
                <a:lnTo>
                  <a:pt x="714" y="906"/>
                </a:lnTo>
                <a:lnTo>
                  <a:pt x="708" y="906"/>
                </a:lnTo>
                <a:lnTo>
                  <a:pt x="714" y="912"/>
                </a:lnTo>
                <a:lnTo>
                  <a:pt x="708" y="912"/>
                </a:lnTo>
                <a:lnTo>
                  <a:pt x="714" y="912"/>
                </a:lnTo>
                <a:lnTo>
                  <a:pt x="708" y="912"/>
                </a:lnTo>
                <a:lnTo>
                  <a:pt x="708" y="918"/>
                </a:lnTo>
                <a:lnTo>
                  <a:pt x="702" y="918"/>
                </a:lnTo>
                <a:lnTo>
                  <a:pt x="696" y="918"/>
                </a:lnTo>
                <a:lnTo>
                  <a:pt x="696" y="924"/>
                </a:lnTo>
                <a:lnTo>
                  <a:pt x="690" y="924"/>
                </a:lnTo>
                <a:lnTo>
                  <a:pt x="690" y="918"/>
                </a:lnTo>
                <a:lnTo>
                  <a:pt x="690" y="912"/>
                </a:lnTo>
                <a:lnTo>
                  <a:pt x="684" y="912"/>
                </a:lnTo>
                <a:lnTo>
                  <a:pt x="684" y="906"/>
                </a:lnTo>
                <a:lnTo>
                  <a:pt x="678" y="906"/>
                </a:lnTo>
                <a:lnTo>
                  <a:pt x="672" y="900"/>
                </a:lnTo>
                <a:lnTo>
                  <a:pt x="672" y="906"/>
                </a:lnTo>
                <a:lnTo>
                  <a:pt x="666" y="906"/>
                </a:lnTo>
                <a:lnTo>
                  <a:pt x="666" y="900"/>
                </a:lnTo>
                <a:lnTo>
                  <a:pt x="660" y="900"/>
                </a:lnTo>
                <a:lnTo>
                  <a:pt x="654" y="900"/>
                </a:lnTo>
                <a:lnTo>
                  <a:pt x="654" y="894"/>
                </a:lnTo>
                <a:lnTo>
                  <a:pt x="648" y="894"/>
                </a:lnTo>
                <a:lnTo>
                  <a:pt x="648" y="900"/>
                </a:lnTo>
                <a:lnTo>
                  <a:pt x="648" y="906"/>
                </a:lnTo>
                <a:lnTo>
                  <a:pt x="642" y="906"/>
                </a:lnTo>
                <a:lnTo>
                  <a:pt x="642" y="912"/>
                </a:lnTo>
                <a:lnTo>
                  <a:pt x="636" y="912"/>
                </a:lnTo>
                <a:lnTo>
                  <a:pt x="636" y="918"/>
                </a:lnTo>
                <a:lnTo>
                  <a:pt x="636" y="924"/>
                </a:lnTo>
                <a:lnTo>
                  <a:pt x="630" y="924"/>
                </a:lnTo>
                <a:lnTo>
                  <a:pt x="630" y="930"/>
                </a:lnTo>
                <a:lnTo>
                  <a:pt x="630" y="936"/>
                </a:lnTo>
                <a:lnTo>
                  <a:pt x="630" y="942"/>
                </a:lnTo>
                <a:lnTo>
                  <a:pt x="630" y="936"/>
                </a:lnTo>
                <a:lnTo>
                  <a:pt x="624" y="936"/>
                </a:lnTo>
                <a:lnTo>
                  <a:pt x="624" y="942"/>
                </a:lnTo>
                <a:lnTo>
                  <a:pt x="618" y="948"/>
                </a:lnTo>
                <a:lnTo>
                  <a:pt x="612" y="948"/>
                </a:lnTo>
                <a:lnTo>
                  <a:pt x="612" y="942"/>
                </a:lnTo>
                <a:lnTo>
                  <a:pt x="606" y="948"/>
                </a:lnTo>
                <a:lnTo>
                  <a:pt x="606" y="942"/>
                </a:lnTo>
                <a:lnTo>
                  <a:pt x="600" y="942"/>
                </a:lnTo>
                <a:lnTo>
                  <a:pt x="594" y="942"/>
                </a:lnTo>
                <a:lnTo>
                  <a:pt x="600" y="936"/>
                </a:lnTo>
                <a:lnTo>
                  <a:pt x="600" y="930"/>
                </a:lnTo>
                <a:lnTo>
                  <a:pt x="606" y="930"/>
                </a:lnTo>
                <a:lnTo>
                  <a:pt x="612" y="930"/>
                </a:lnTo>
                <a:lnTo>
                  <a:pt x="612" y="924"/>
                </a:lnTo>
                <a:lnTo>
                  <a:pt x="606" y="924"/>
                </a:lnTo>
                <a:lnTo>
                  <a:pt x="606" y="918"/>
                </a:lnTo>
                <a:lnTo>
                  <a:pt x="600" y="918"/>
                </a:lnTo>
                <a:lnTo>
                  <a:pt x="600" y="912"/>
                </a:lnTo>
                <a:lnTo>
                  <a:pt x="606" y="912"/>
                </a:lnTo>
                <a:lnTo>
                  <a:pt x="600" y="912"/>
                </a:lnTo>
                <a:lnTo>
                  <a:pt x="600" y="906"/>
                </a:lnTo>
                <a:lnTo>
                  <a:pt x="600" y="900"/>
                </a:lnTo>
                <a:lnTo>
                  <a:pt x="600" y="894"/>
                </a:lnTo>
                <a:lnTo>
                  <a:pt x="594" y="894"/>
                </a:lnTo>
                <a:lnTo>
                  <a:pt x="594" y="888"/>
                </a:lnTo>
                <a:lnTo>
                  <a:pt x="594" y="882"/>
                </a:lnTo>
                <a:lnTo>
                  <a:pt x="588" y="882"/>
                </a:lnTo>
                <a:lnTo>
                  <a:pt x="582" y="882"/>
                </a:lnTo>
                <a:lnTo>
                  <a:pt x="576" y="882"/>
                </a:lnTo>
                <a:lnTo>
                  <a:pt x="570" y="882"/>
                </a:lnTo>
                <a:lnTo>
                  <a:pt x="570" y="888"/>
                </a:lnTo>
                <a:lnTo>
                  <a:pt x="564" y="888"/>
                </a:lnTo>
                <a:lnTo>
                  <a:pt x="558" y="888"/>
                </a:lnTo>
                <a:lnTo>
                  <a:pt x="552" y="888"/>
                </a:lnTo>
                <a:lnTo>
                  <a:pt x="552" y="894"/>
                </a:lnTo>
                <a:lnTo>
                  <a:pt x="546" y="894"/>
                </a:lnTo>
                <a:lnTo>
                  <a:pt x="540" y="894"/>
                </a:lnTo>
                <a:lnTo>
                  <a:pt x="540" y="900"/>
                </a:lnTo>
                <a:lnTo>
                  <a:pt x="534" y="900"/>
                </a:lnTo>
                <a:lnTo>
                  <a:pt x="528" y="900"/>
                </a:lnTo>
                <a:lnTo>
                  <a:pt x="528" y="894"/>
                </a:lnTo>
                <a:lnTo>
                  <a:pt x="534" y="894"/>
                </a:lnTo>
                <a:lnTo>
                  <a:pt x="528" y="894"/>
                </a:lnTo>
                <a:lnTo>
                  <a:pt x="528" y="888"/>
                </a:lnTo>
                <a:lnTo>
                  <a:pt x="528" y="882"/>
                </a:lnTo>
                <a:lnTo>
                  <a:pt x="522" y="876"/>
                </a:lnTo>
                <a:lnTo>
                  <a:pt x="522" y="870"/>
                </a:lnTo>
                <a:lnTo>
                  <a:pt x="516" y="870"/>
                </a:lnTo>
                <a:lnTo>
                  <a:pt x="516" y="864"/>
                </a:lnTo>
                <a:lnTo>
                  <a:pt x="510" y="864"/>
                </a:lnTo>
                <a:lnTo>
                  <a:pt x="510" y="858"/>
                </a:lnTo>
                <a:lnTo>
                  <a:pt x="510" y="852"/>
                </a:lnTo>
                <a:lnTo>
                  <a:pt x="510" y="846"/>
                </a:lnTo>
                <a:lnTo>
                  <a:pt x="510" y="840"/>
                </a:lnTo>
                <a:lnTo>
                  <a:pt x="504" y="840"/>
                </a:lnTo>
                <a:lnTo>
                  <a:pt x="504" y="834"/>
                </a:lnTo>
                <a:lnTo>
                  <a:pt x="498" y="840"/>
                </a:lnTo>
                <a:lnTo>
                  <a:pt x="492" y="840"/>
                </a:lnTo>
                <a:lnTo>
                  <a:pt x="492" y="846"/>
                </a:lnTo>
                <a:lnTo>
                  <a:pt x="486" y="846"/>
                </a:lnTo>
                <a:lnTo>
                  <a:pt x="480" y="846"/>
                </a:lnTo>
                <a:lnTo>
                  <a:pt x="474" y="846"/>
                </a:lnTo>
                <a:lnTo>
                  <a:pt x="474" y="852"/>
                </a:lnTo>
                <a:lnTo>
                  <a:pt x="468" y="852"/>
                </a:lnTo>
                <a:lnTo>
                  <a:pt x="462" y="852"/>
                </a:lnTo>
                <a:lnTo>
                  <a:pt x="456" y="852"/>
                </a:lnTo>
                <a:lnTo>
                  <a:pt x="450" y="852"/>
                </a:lnTo>
                <a:lnTo>
                  <a:pt x="450" y="858"/>
                </a:lnTo>
                <a:lnTo>
                  <a:pt x="444" y="852"/>
                </a:lnTo>
                <a:lnTo>
                  <a:pt x="438" y="852"/>
                </a:lnTo>
                <a:lnTo>
                  <a:pt x="438" y="846"/>
                </a:lnTo>
                <a:lnTo>
                  <a:pt x="438" y="840"/>
                </a:lnTo>
                <a:lnTo>
                  <a:pt x="432" y="840"/>
                </a:lnTo>
                <a:lnTo>
                  <a:pt x="426" y="840"/>
                </a:lnTo>
                <a:lnTo>
                  <a:pt x="420" y="840"/>
                </a:lnTo>
                <a:lnTo>
                  <a:pt x="414" y="840"/>
                </a:lnTo>
                <a:lnTo>
                  <a:pt x="408" y="834"/>
                </a:lnTo>
                <a:lnTo>
                  <a:pt x="402" y="834"/>
                </a:lnTo>
                <a:lnTo>
                  <a:pt x="402" y="828"/>
                </a:lnTo>
                <a:lnTo>
                  <a:pt x="396" y="828"/>
                </a:lnTo>
                <a:lnTo>
                  <a:pt x="390" y="828"/>
                </a:lnTo>
                <a:lnTo>
                  <a:pt x="384" y="828"/>
                </a:lnTo>
                <a:lnTo>
                  <a:pt x="378" y="828"/>
                </a:lnTo>
                <a:lnTo>
                  <a:pt x="372" y="828"/>
                </a:lnTo>
                <a:lnTo>
                  <a:pt x="366" y="828"/>
                </a:lnTo>
                <a:lnTo>
                  <a:pt x="360" y="828"/>
                </a:lnTo>
                <a:lnTo>
                  <a:pt x="354" y="828"/>
                </a:lnTo>
                <a:lnTo>
                  <a:pt x="354" y="822"/>
                </a:lnTo>
                <a:lnTo>
                  <a:pt x="348" y="822"/>
                </a:lnTo>
                <a:lnTo>
                  <a:pt x="342" y="822"/>
                </a:lnTo>
                <a:lnTo>
                  <a:pt x="336" y="822"/>
                </a:lnTo>
                <a:lnTo>
                  <a:pt x="330" y="816"/>
                </a:lnTo>
                <a:lnTo>
                  <a:pt x="324" y="816"/>
                </a:lnTo>
                <a:lnTo>
                  <a:pt x="318" y="816"/>
                </a:lnTo>
                <a:lnTo>
                  <a:pt x="318" y="810"/>
                </a:lnTo>
                <a:lnTo>
                  <a:pt x="312" y="810"/>
                </a:lnTo>
                <a:lnTo>
                  <a:pt x="306" y="810"/>
                </a:lnTo>
                <a:lnTo>
                  <a:pt x="306" y="816"/>
                </a:lnTo>
                <a:lnTo>
                  <a:pt x="306" y="822"/>
                </a:lnTo>
                <a:lnTo>
                  <a:pt x="300" y="822"/>
                </a:lnTo>
                <a:lnTo>
                  <a:pt x="300" y="828"/>
                </a:lnTo>
                <a:lnTo>
                  <a:pt x="294" y="828"/>
                </a:lnTo>
                <a:lnTo>
                  <a:pt x="294" y="834"/>
                </a:lnTo>
                <a:lnTo>
                  <a:pt x="288" y="834"/>
                </a:lnTo>
                <a:lnTo>
                  <a:pt x="288" y="840"/>
                </a:lnTo>
                <a:lnTo>
                  <a:pt x="288" y="834"/>
                </a:lnTo>
                <a:lnTo>
                  <a:pt x="282" y="834"/>
                </a:lnTo>
                <a:lnTo>
                  <a:pt x="282" y="828"/>
                </a:lnTo>
                <a:lnTo>
                  <a:pt x="282" y="822"/>
                </a:lnTo>
                <a:lnTo>
                  <a:pt x="276" y="822"/>
                </a:lnTo>
                <a:lnTo>
                  <a:pt x="276" y="816"/>
                </a:lnTo>
                <a:lnTo>
                  <a:pt x="282" y="816"/>
                </a:lnTo>
                <a:lnTo>
                  <a:pt x="282" y="810"/>
                </a:lnTo>
                <a:lnTo>
                  <a:pt x="276" y="810"/>
                </a:lnTo>
                <a:lnTo>
                  <a:pt x="276" y="804"/>
                </a:lnTo>
                <a:lnTo>
                  <a:pt x="282" y="804"/>
                </a:lnTo>
                <a:lnTo>
                  <a:pt x="282" y="798"/>
                </a:lnTo>
                <a:lnTo>
                  <a:pt x="276" y="798"/>
                </a:lnTo>
                <a:lnTo>
                  <a:pt x="276" y="792"/>
                </a:lnTo>
                <a:lnTo>
                  <a:pt x="276" y="786"/>
                </a:lnTo>
                <a:lnTo>
                  <a:pt x="270" y="786"/>
                </a:lnTo>
                <a:lnTo>
                  <a:pt x="270" y="780"/>
                </a:lnTo>
                <a:lnTo>
                  <a:pt x="264" y="780"/>
                </a:lnTo>
                <a:lnTo>
                  <a:pt x="264" y="774"/>
                </a:lnTo>
                <a:lnTo>
                  <a:pt x="258" y="774"/>
                </a:lnTo>
                <a:lnTo>
                  <a:pt x="252" y="774"/>
                </a:lnTo>
                <a:lnTo>
                  <a:pt x="258" y="774"/>
                </a:lnTo>
                <a:lnTo>
                  <a:pt x="252" y="774"/>
                </a:lnTo>
                <a:lnTo>
                  <a:pt x="246" y="774"/>
                </a:lnTo>
                <a:lnTo>
                  <a:pt x="240" y="762"/>
                </a:lnTo>
                <a:lnTo>
                  <a:pt x="234" y="762"/>
                </a:lnTo>
                <a:lnTo>
                  <a:pt x="234" y="756"/>
                </a:lnTo>
                <a:lnTo>
                  <a:pt x="228" y="750"/>
                </a:lnTo>
                <a:lnTo>
                  <a:pt x="228" y="744"/>
                </a:lnTo>
                <a:lnTo>
                  <a:pt x="228" y="738"/>
                </a:lnTo>
                <a:lnTo>
                  <a:pt x="222" y="738"/>
                </a:lnTo>
                <a:lnTo>
                  <a:pt x="222" y="732"/>
                </a:lnTo>
                <a:lnTo>
                  <a:pt x="222" y="726"/>
                </a:lnTo>
                <a:lnTo>
                  <a:pt x="222" y="720"/>
                </a:lnTo>
                <a:lnTo>
                  <a:pt x="222" y="714"/>
                </a:lnTo>
                <a:lnTo>
                  <a:pt x="228" y="714"/>
                </a:lnTo>
                <a:lnTo>
                  <a:pt x="228" y="708"/>
                </a:lnTo>
                <a:lnTo>
                  <a:pt x="234" y="708"/>
                </a:lnTo>
                <a:lnTo>
                  <a:pt x="228" y="702"/>
                </a:lnTo>
                <a:lnTo>
                  <a:pt x="234" y="702"/>
                </a:lnTo>
                <a:lnTo>
                  <a:pt x="228" y="702"/>
                </a:lnTo>
                <a:lnTo>
                  <a:pt x="228" y="696"/>
                </a:lnTo>
                <a:lnTo>
                  <a:pt x="222" y="696"/>
                </a:lnTo>
                <a:lnTo>
                  <a:pt x="222" y="690"/>
                </a:lnTo>
                <a:lnTo>
                  <a:pt x="222" y="684"/>
                </a:lnTo>
                <a:lnTo>
                  <a:pt x="216" y="684"/>
                </a:lnTo>
                <a:lnTo>
                  <a:pt x="210" y="684"/>
                </a:lnTo>
                <a:lnTo>
                  <a:pt x="210" y="678"/>
                </a:lnTo>
                <a:lnTo>
                  <a:pt x="204" y="678"/>
                </a:lnTo>
                <a:lnTo>
                  <a:pt x="204" y="672"/>
                </a:lnTo>
                <a:lnTo>
                  <a:pt x="204" y="666"/>
                </a:lnTo>
                <a:lnTo>
                  <a:pt x="198" y="666"/>
                </a:lnTo>
                <a:lnTo>
                  <a:pt x="198" y="672"/>
                </a:lnTo>
                <a:lnTo>
                  <a:pt x="192" y="672"/>
                </a:lnTo>
                <a:lnTo>
                  <a:pt x="186" y="672"/>
                </a:lnTo>
                <a:lnTo>
                  <a:pt x="186" y="678"/>
                </a:lnTo>
                <a:lnTo>
                  <a:pt x="180" y="678"/>
                </a:lnTo>
                <a:lnTo>
                  <a:pt x="186" y="678"/>
                </a:lnTo>
                <a:lnTo>
                  <a:pt x="186" y="684"/>
                </a:lnTo>
                <a:lnTo>
                  <a:pt x="180" y="684"/>
                </a:lnTo>
                <a:lnTo>
                  <a:pt x="174" y="684"/>
                </a:lnTo>
                <a:lnTo>
                  <a:pt x="174" y="678"/>
                </a:lnTo>
                <a:lnTo>
                  <a:pt x="168" y="678"/>
                </a:lnTo>
                <a:lnTo>
                  <a:pt x="174" y="678"/>
                </a:lnTo>
                <a:lnTo>
                  <a:pt x="174" y="672"/>
                </a:lnTo>
                <a:lnTo>
                  <a:pt x="174" y="666"/>
                </a:lnTo>
                <a:lnTo>
                  <a:pt x="168" y="660"/>
                </a:lnTo>
                <a:lnTo>
                  <a:pt x="168" y="654"/>
                </a:lnTo>
                <a:lnTo>
                  <a:pt x="162" y="660"/>
                </a:lnTo>
                <a:lnTo>
                  <a:pt x="156" y="660"/>
                </a:lnTo>
                <a:lnTo>
                  <a:pt x="156" y="666"/>
                </a:lnTo>
                <a:lnTo>
                  <a:pt x="150" y="672"/>
                </a:lnTo>
                <a:lnTo>
                  <a:pt x="150" y="678"/>
                </a:lnTo>
                <a:lnTo>
                  <a:pt x="150" y="672"/>
                </a:lnTo>
                <a:lnTo>
                  <a:pt x="156" y="678"/>
                </a:lnTo>
                <a:lnTo>
                  <a:pt x="150" y="678"/>
                </a:lnTo>
                <a:lnTo>
                  <a:pt x="144" y="678"/>
                </a:lnTo>
                <a:lnTo>
                  <a:pt x="138" y="678"/>
                </a:lnTo>
                <a:lnTo>
                  <a:pt x="132" y="672"/>
                </a:lnTo>
                <a:lnTo>
                  <a:pt x="132" y="666"/>
                </a:lnTo>
                <a:lnTo>
                  <a:pt x="138" y="666"/>
                </a:lnTo>
                <a:lnTo>
                  <a:pt x="138" y="660"/>
                </a:lnTo>
                <a:lnTo>
                  <a:pt x="132" y="660"/>
                </a:lnTo>
                <a:lnTo>
                  <a:pt x="126" y="660"/>
                </a:lnTo>
                <a:lnTo>
                  <a:pt x="120" y="660"/>
                </a:lnTo>
                <a:lnTo>
                  <a:pt x="120" y="654"/>
                </a:lnTo>
                <a:lnTo>
                  <a:pt x="114" y="654"/>
                </a:lnTo>
                <a:lnTo>
                  <a:pt x="114" y="660"/>
                </a:lnTo>
                <a:lnTo>
                  <a:pt x="114" y="666"/>
                </a:lnTo>
                <a:lnTo>
                  <a:pt x="108" y="666"/>
                </a:lnTo>
                <a:lnTo>
                  <a:pt x="102" y="666"/>
                </a:lnTo>
                <a:lnTo>
                  <a:pt x="102" y="660"/>
                </a:lnTo>
                <a:lnTo>
                  <a:pt x="96" y="660"/>
                </a:lnTo>
                <a:lnTo>
                  <a:pt x="96" y="654"/>
                </a:lnTo>
                <a:lnTo>
                  <a:pt x="96" y="660"/>
                </a:lnTo>
                <a:lnTo>
                  <a:pt x="96" y="654"/>
                </a:lnTo>
                <a:lnTo>
                  <a:pt x="90" y="660"/>
                </a:lnTo>
                <a:lnTo>
                  <a:pt x="90" y="666"/>
                </a:lnTo>
                <a:lnTo>
                  <a:pt x="84" y="666"/>
                </a:lnTo>
                <a:lnTo>
                  <a:pt x="78" y="666"/>
                </a:lnTo>
                <a:lnTo>
                  <a:pt x="78" y="672"/>
                </a:lnTo>
                <a:lnTo>
                  <a:pt x="72" y="672"/>
                </a:lnTo>
                <a:lnTo>
                  <a:pt x="72" y="678"/>
                </a:lnTo>
                <a:lnTo>
                  <a:pt x="72" y="684"/>
                </a:lnTo>
                <a:lnTo>
                  <a:pt x="78" y="690"/>
                </a:lnTo>
                <a:lnTo>
                  <a:pt x="84" y="690"/>
                </a:lnTo>
                <a:lnTo>
                  <a:pt x="90" y="684"/>
                </a:lnTo>
                <a:lnTo>
                  <a:pt x="90" y="690"/>
                </a:lnTo>
                <a:lnTo>
                  <a:pt x="96" y="696"/>
                </a:lnTo>
                <a:lnTo>
                  <a:pt x="96" y="702"/>
                </a:lnTo>
                <a:lnTo>
                  <a:pt x="90" y="702"/>
                </a:lnTo>
                <a:lnTo>
                  <a:pt x="90" y="708"/>
                </a:lnTo>
                <a:lnTo>
                  <a:pt x="96" y="714"/>
                </a:lnTo>
                <a:lnTo>
                  <a:pt x="96" y="720"/>
                </a:lnTo>
                <a:lnTo>
                  <a:pt x="96" y="726"/>
                </a:lnTo>
                <a:lnTo>
                  <a:pt x="90" y="726"/>
                </a:lnTo>
                <a:lnTo>
                  <a:pt x="90" y="732"/>
                </a:lnTo>
                <a:lnTo>
                  <a:pt x="84" y="732"/>
                </a:lnTo>
                <a:lnTo>
                  <a:pt x="84" y="738"/>
                </a:lnTo>
                <a:lnTo>
                  <a:pt x="84" y="744"/>
                </a:lnTo>
                <a:lnTo>
                  <a:pt x="90" y="744"/>
                </a:lnTo>
                <a:lnTo>
                  <a:pt x="90" y="750"/>
                </a:lnTo>
                <a:lnTo>
                  <a:pt x="96" y="750"/>
                </a:lnTo>
                <a:lnTo>
                  <a:pt x="90" y="750"/>
                </a:lnTo>
                <a:lnTo>
                  <a:pt x="90" y="756"/>
                </a:lnTo>
                <a:lnTo>
                  <a:pt x="90" y="762"/>
                </a:lnTo>
                <a:lnTo>
                  <a:pt x="90" y="768"/>
                </a:lnTo>
                <a:lnTo>
                  <a:pt x="90" y="774"/>
                </a:lnTo>
                <a:lnTo>
                  <a:pt x="96" y="774"/>
                </a:lnTo>
                <a:lnTo>
                  <a:pt x="96" y="780"/>
                </a:lnTo>
                <a:lnTo>
                  <a:pt x="90" y="780"/>
                </a:lnTo>
                <a:lnTo>
                  <a:pt x="84" y="780"/>
                </a:lnTo>
                <a:lnTo>
                  <a:pt x="78" y="780"/>
                </a:lnTo>
                <a:lnTo>
                  <a:pt x="78" y="786"/>
                </a:lnTo>
                <a:lnTo>
                  <a:pt x="72" y="786"/>
                </a:lnTo>
                <a:lnTo>
                  <a:pt x="66" y="780"/>
                </a:lnTo>
                <a:lnTo>
                  <a:pt x="60" y="780"/>
                </a:lnTo>
                <a:lnTo>
                  <a:pt x="54" y="780"/>
                </a:lnTo>
                <a:lnTo>
                  <a:pt x="48" y="780"/>
                </a:lnTo>
                <a:lnTo>
                  <a:pt x="48" y="774"/>
                </a:lnTo>
                <a:lnTo>
                  <a:pt x="42" y="774"/>
                </a:lnTo>
                <a:lnTo>
                  <a:pt x="42" y="780"/>
                </a:lnTo>
                <a:lnTo>
                  <a:pt x="36" y="780"/>
                </a:lnTo>
                <a:lnTo>
                  <a:pt x="30" y="774"/>
                </a:lnTo>
                <a:lnTo>
                  <a:pt x="24" y="774"/>
                </a:lnTo>
                <a:lnTo>
                  <a:pt x="24" y="780"/>
                </a:lnTo>
                <a:lnTo>
                  <a:pt x="18" y="780"/>
                </a:lnTo>
                <a:lnTo>
                  <a:pt x="12" y="786"/>
                </a:lnTo>
                <a:lnTo>
                  <a:pt x="12" y="780"/>
                </a:lnTo>
                <a:lnTo>
                  <a:pt x="6" y="780"/>
                </a:lnTo>
                <a:lnTo>
                  <a:pt x="0" y="780"/>
                </a:lnTo>
                <a:lnTo>
                  <a:pt x="0" y="774"/>
                </a:lnTo>
                <a:lnTo>
                  <a:pt x="6" y="768"/>
                </a:lnTo>
                <a:lnTo>
                  <a:pt x="6" y="762"/>
                </a:lnTo>
                <a:lnTo>
                  <a:pt x="12" y="762"/>
                </a:lnTo>
                <a:lnTo>
                  <a:pt x="12" y="756"/>
                </a:lnTo>
                <a:lnTo>
                  <a:pt x="18" y="756"/>
                </a:lnTo>
                <a:lnTo>
                  <a:pt x="18" y="750"/>
                </a:lnTo>
                <a:lnTo>
                  <a:pt x="18" y="744"/>
                </a:lnTo>
                <a:lnTo>
                  <a:pt x="24" y="744"/>
                </a:lnTo>
                <a:lnTo>
                  <a:pt x="24" y="738"/>
                </a:lnTo>
                <a:lnTo>
                  <a:pt x="30" y="738"/>
                </a:lnTo>
                <a:lnTo>
                  <a:pt x="30" y="732"/>
                </a:lnTo>
                <a:lnTo>
                  <a:pt x="36" y="732"/>
                </a:lnTo>
                <a:lnTo>
                  <a:pt x="36" y="726"/>
                </a:lnTo>
                <a:lnTo>
                  <a:pt x="36" y="720"/>
                </a:lnTo>
                <a:lnTo>
                  <a:pt x="36" y="714"/>
                </a:lnTo>
                <a:lnTo>
                  <a:pt x="36" y="708"/>
                </a:lnTo>
                <a:lnTo>
                  <a:pt x="42" y="708"/>
                </a:lnTo>
                <a:lnTo>
                  <a:pt x="36" y="708"/>
                </a:lnTo>
                <a:lnTo>
                  <a:pt x="42" y="708"/>
                </a:lnTo>
                <a:lnTo>
                  <a:pt x="42" y="702"/>
                </a:lnTo>
                <a:lnTo>
                  <a:pt x="36" y="702"/>
                </a:lnTo>
                <a:lnTo>
                  <a:pt x="42" y="702"/>
                </a:lnTo>
                <a:lnTo>
                  <a:pt x="42" y="696"/>
                </a:lnTo>
                <a:lnTo>
                  <a:pt x="48" y="696"/>
                </a:lnTo>
                <a:lnTo>
                  <a:pt x="42" y="690"/>
                </a:lnTo>
                <a:lnTo>
                  <a:pt x="48" y="690"/>
                </a:lnTo>
                <a:lnTo>
                  <a:pt x="42" y="684"/>
                </a:lnTo>
                <a:lnTo>
                  <a:pt x="48" y="678"/>
                </a:lnTo>
                <a:lnTo>
                  <a:pt x="54" y="678"/>
                </a:lnTo>
                <a:lnTo>
                  <a:pt x="54" y="672"/>
                </a:lnTo>
                <a:lnTo>
                  <a:pt x="54" y="666"/>
                </a:lnTo>
                <a:lnTo>
                  <a:pt x="54" y="660"/>
                </a:lnTo>
                <a:lnTo>
                  <a:pt x="54" y="654"/>
                </a:lnTo>
                <a:lnTo>
                  <a:pt x="60" y="654"/>
                </a:lnTo>
                <a:lnTo>
                  <a:pt x="54" y="654"/>
                </a:lnTo>
                <a:lnTo>
                  <a:pt x="60" y="648"/>
                </a:lnTo>
                <a:lnTo>
                  <a:pt x="60" y="642"/>
                </a:lnTo>
                <a:lnTo>
                  <a:pt x="60" y="636"/>
                </a:lnTo>
                <a:lnTo>
                  <a:pt x="66" y="636"/>
                </a:lnTo>
                <a:lnTo>
                  <a:pt x="66" y="630"/>
                </a:lnTo>
                <a:lnTo>
                  <a:pt x="66" y="636"/>
                </a:lnTo>
                <a:lnTo>
                  <a:pt x="66" y="630"/>
                </a:lnTo>
                <a:lnTo>
                  <a:pt x="66" y="624"/>
                </a:lnTo>
                <a:lnTo>
                  <a:pt x="66" y="618"/>
                </a:lnTo>
                <a:lnTo>
                  <a:pt x="72" y="618"/>
                </a:lnTo>
                <a:lnTo>
                  <a:pt x="72" y="612"/>
                </a:lnTo>
                <a:lnTo>
                  <a:pt x="66" y="612"/>
                </a:lnTo>
                <a:lnTo>
                  <a:pt x="72" y="612"/>
                </a:lnTo>
                <a:lnTo>
                  <a:pt x="72" y="606"/>
                </a:lnTo>
                <a:lnTo>
                  <a:pt x="66" y="606"/>
                </a:lnTo>
                <a:lnTo>
                  <a:pt x="72" y="606"/>
                </a:lnTo>
                <a:lnTo>
                  <a:pt x="72" y="600"/>
                </a:lnTo>
                <a:lnTo>
                  <a:pt x="72" y="594"/>
                </a:lnTo>
                <a:lnTo>
                  <a:pt x="66" y="594"/>
                </a:lnTo>
                <a:lnTo>
                  <a:pt x="66" y="588"/>
                </a:lnTo>
                <a:lnTo>
                  <a:pt x="72" y="588"/>
                </a:lnTo>
                <a:lnTo>
                  <a:pt x="72" y="582"/>
                </a:lnTo>
                <a:lnTo>
                  <a:pt x="78" y="582"/>
                </a:lnTo>
                <a:lnTo>
                  <a:pt x="78" y="576"/>
                </a:lnTo>
                <a:lnTo>
                  <a:pt x="78" y="570"/>
                </a:lnTo>
                <a:lnTo>
                  <a:pt x="72" y="564"/>
                </a:lnTo>
                <a:lnTo>
                  <a:pt x="78" y="564"/>
                </a:lnTo>
                <a:lnTo>
                  <a:pt x="78" y="558"/>
                </a:lnTo>
                <a:lnTo>
                  <a:pt x="78" y="552"/>
                </a:lnTo>
                <a:lnTo>
                  <a:pt x="72" y="552"/>
                </a:lnTo>
                <a:lnTo>
                  <a:pt x="72" y="546"/>
                </a:lnTo>
                <a:lnTo>
                  <a:pt x="78" y="546"/>
                </a:lnTo>
                <a:lnTo>
                  <a:pt x="78" y="540"/>
                </a:lnTo>
                <a:lnTo>
                  <a:pt x="78" y="534"/>
                </a:lnTo>
                <a:lnTo>
                  <a:pt x="78" y="528"/>
                </a:lnTo>
                <a:lnTo>
                  <a:pt x="78" y="522"/>
                </a:lnTo>
                <a:lnTo>
                  <a:pt x="84" y="522"/>
                </a:lnTo>
                <a:lnTo>
                  <a:pt x="78" y="522"/>
                </a:lnTo>
                <a:lnTo>
                  <a:pt x="78" y="516"/>
                </a:lnTo>
                <a:lnTo>
                  <a:pt x="78" y="510"/>
                </a:lnTo>
                <a:lnTo>
                  <a:pt x="78" y="504"/>
                </a:lnTo>
                <a:lnTo>
                  <a:pt x="84" y="504"/>
                </a:lnTo>
                <a:lnTo>
                  <a:pt x="78" y="504"/>
                </a:lnTo>
                <a:lnTo>
                  <a:pt x="84" y="504"/>
                </a:lnTo>
                <a:lnTo>
                  <a:pt x="84" y="498"/>
                </a:lnTo>
                <a:lnTo>
                  <a:pt x="78" y="498"/>
                </a:lnTo>
                <a:lnTo>
                  <a:pt x="84" y="498"/>
                </a:lnTo>
                <a:lnTo>
                  <a:pt x="78" y="498"/>
                </a:lnTo>
                <a:lnTo>
                  <a:pt x="84" y="498"/>
                </a:lnTo>
                <a:lnTo>
                  <a:pt x="84" y="492"/>
                </a:lnTo>
                <a:lnTo>
                  <a:pt x="84" y="486"/>
                </a:lnTo>
                <a:lnTo>
                  <a:pt x="90" y="486"/>
                </a:lnTo>
                <a:lnTo>
                  <a:pt x="90" y="480"/>
                </a:lnTo>
                <a:lnTo>
                  <a:pt x="84" y="480"/>
                </a:lnTo>
                <a:lnTo>
                  <a:pt x="84" y="474"/>
                </a:lnTo>
                <a:lnTo>
                  <a:pt x="84" y="480"/>
                </a:lnTo>
                <a:lnTo>
                  <a:pt x="84" y="474"/>
                </a:lnTo>
                <a:lnTo>
                  <a:pt x="90" y="474"/>
                </a:lnTo>
                <a:lnTo>
                  <a:pt x="90" y="468"/>
                </a:lnTo>
                <a:lnTo>
                  <a:pt x="90" y="462"/>
                </a:lnTo>
                <a:lnTo>
                  <a:pt x="90" y="456"/>
                </a:lnTo>
                <a:lnTo>
                  <a:pt x="84" y="456"/>
                </a:lnTo>
                <a:lnTo>
                  <a:pt x="90" y="456"/>
                </a:lnTo>
                <a:lnTo>
                  <a:pt x="84" y="456"/>
                </a:lnTo>
                <a:lnTo>
                  <a:pt x="84" y="450"/>
                </a:lnTo>
                <a:lnTo>
                  <a:pt x="84" y="444"/>
                </a:lnTo>
                <a:lnTo>
                  <a:pt x="78" y="438"/>
                </a:lnTo>
                <a:lnTo>
                  <a:pt x="72" y="438"/>
                </a:lnTo>
                <a:lnTo>
                  <a:pt x="78" y="438"/>
                </a:lnTo>
                <a:lnTo>
                  <a:pt x="72" y="432"/>
                </a:lnTo>
                <a:lnTo>
                  <a:pt x="72" y="426"/>
                </a:lnTo>
                <a:lnTo>
                  <a:pt x="66" y="426"/>
                </a:lnTo>
                <a:lnTo>
                  <a:pt x="66" y="420"/>
                </a:lnTo>
                <a:lnTo>
                  <a:pt x="60" y="420"/>
                </a:lnTo>
                <a:lnTo>
                  <a:pt x="60" y="414"/>
                </a:lnTo>
                <a:lnTo>
                  <a:pt x="60" y="408"/>
                </a:lnTo>
                <a:lnTo>
                  <a:pt x="54" y="408"/>
                </a:lnTo>
                <a:lnTo>
                  <a:pt x="54" y="402"/>
                </a:lnTo>
                <a:lnTo>
                  <a:pt x="54" y="396"/>
                </a:lnTo>
                <a:lnTo>
                  <a:pt x="48" y="396"/>
                </a:lnTo>
                <a:lnTo>
                  <a:pt x="48" y="390"/>
                </a:lnTo>
                <a:lnTo>
                  <a:pt x="54" y="390"/>
                </a:lnTo>
                <a:lnTo>
                  <a:pt x="60" y="390"/>
                </a:lnTo>
                <a:lnTo>
                  <a:pt x="66" y="390"/>
                </a:lnTo>
                <a:lnTo>
                  <a:pt x="72" y="390"/>
                </a:lnTo>
                <a:lnTo>
                  <a:pt x="72" y="384"/>
                </a:lnTo>
                <a:lnTo>
                  <a:pt x="66" y="384"/>
                </a:lnTo>
                <a:lnTo>
                  <a:pt x="66" y="378"/>
                </a:lnTo>
                <a:lnTo>
                  <a:pt x="72" y="378"/>
                </a:lnTo>
                <a:lnTo>
                  <a:pt x="72" y="372"/>
                </a:lnTo>
                <a:lnTo>
                  <a:pt x="72" y="366"/>
                </a:lnTo>
                <a:lnTo>
                  <a:pt x="78" y="366"/>
                </a:lnTo>
                <a:lnTo>
                  <a:pt x="84" y="366"/>
                </a:lnTo>
                <a:lnTo>
                  <a:pt x="84" y="360"/>
                </a:lnTo>
                <a:lnTo>
                  <a:pt x="90" y="360"/>
                </a:lnTo>
                <a:lnTo>
                  <a:pt x="96" y="366"/>
                </a:lnTo>
                <a:lnTo>
                  <a:pt x="96" y="360"/>
                </a:lnTo>
                <a:lnTo>
                  <a:pt x="102" y="360"/>
                </a:lnTo>
                <a:lnTo>
                  <a:pt x="102" y="354"/>
                </a:lnTo>
                <a:lnTo>
                  <a:pt x="102" y="348"/>
                </a:lnTo>
                <a:lnTo>
                  <a:pt x="102" y="342"/>
                </a:lnTo>
                <a:lnTo>
                  <a:pt x="102" y="336"/>
                </a:lnTo>
                <a:lnTo>
                  <a:pt x="108" y="336"/>
                </a:lnTo>
                <a:lnTo>
                  <a:pt x="114" y="336"/>
                </a:lnTo>
                <a:lnTo>
                  <a:pt x="114" y="330"/>
                </a:lnTo>
                <a:lnTo>
                  <a:pt x="120" y="330"/>
                </a:lnTo>
                <a:lnTo>
                  <a:pt x="126" y="330"/>
                </a:lnTo>
                <a:lnTo>
                  <a:pt x="126" y="324"/>
                </a:lnTo>
                <a:lnTo>
                  <a:pt x="132" y="324"/>
                </a:lnTo>
                <a:lnTo>
                  <a:pt x="138" y="318"/>
                </a:lnTo>
                <a:lnTo>
                  <a:pt x="144" y="318"/>
                </a:lnTo>
                <a:lnTo>
                  <a:pt x="144" y="312"/>
                </a:lnTo>
                <a:lnTo>
                  <a:pt x="150" y="306"/>
                </a:lnTo>
                <a:lnTo>
                  <a:pt x="156" y="306"/>
                </a:lnTo>
                <a:lnTo>
                  <a:pt x="156" y="312"/>
                </a:lnTo>
                <a:lnTo>
                  <a:pt x="156" y="318"/>
                </a:lnTo>
                <a:lnTo>
                  <a:pt x="162" y="318"/>
                </a:lnTo>
                <a:lnTo>
                  <a:pt x="162" y="324"/>
                </a:lnTo>
                <a:lnTo>
                  <a:pt x="168" y="324"/>
                </a:lnTo>
                <a:lnTo>
                  <a:pt x="168" y="318"/>
                </a:lnTo>
                <a:lnTo>
                  <a:pt x="174" y="318"/>
                </a:lnTo>
                <a:lnTo>
                  <a:pt x="180" y="318"/>
                </a:lnTo>
                <a:lnTo>
                  <a:pt x="186" y="318"/>
                </a:lnTo>
                <a:lnTo>
                  <a:pt x="192" y="318"/>
                </a:lnTo>
                <a:lnTo>
                  <a:pt x="192" y="324"/>
                </a:lnTo>
                <a:lnTo>
                  <a:pt x="192" y="330"/>
                </a:lnTo>
                <a:lnTo>
                  <a:pt x="198" y="330"/>
                </a:lnTo>
                <a:lnTo>
                  <a:pt x="204" y="330"/>
                </a:lnTo>
                <a:lnTo>
                  <a:pt x="204" y="336"/>
                </a:lnTo>
                <a:lnTo>
                  <a:pt x="210" y="336"/>
                </a:lnTo>
                <a:lnTo>
                  <a:pt x="216" y="336"/>
                </a:lnTo>
                <a:lnTo>
                  <a:pt x="222" y="336"/>
                </a:lnTo>
                <a:lnTo>
                  <a:pt x="216" y="330"/>
                </a:lnTo>
                <a:lnTo>
                  <a:pt x="216" y="324"/>
                </a:lnTo>
                <a:lnTo>
                  <a:pt x="222" y="324"/>
                </a:lnTo>
                <a:lnTo>
                  <a:pt x="222" y="318"/>
                </a:lnTo>
                <a:lnTo>
                  <a:pt x="222" y="312"/>
                </a:lnTo>
                <a:lnTo>
                  <a:pt x="216" y="312"/>
                </a:lnTo>
                <a:lnTo>
                  <a:pt x="216" y="306"/>
                </a:lnTo>
                <a:lnTo>
                  <a:pt x="216" y="300"/>
                </a:lnTo>
                <a:lnTo>
                  <a:pt x="222" y="294"/>
                </a:lnTo>
                <a:lnTo>
                  <a:pt x="228" y="294"/>
                </a:lnTo>
                <a:lnTo>
                  <a:pt x="234" y="294"/>
                </a:lnTo>
                <a:lnTo>
                  <a:pt x="240" y="294"/>
                </a:lnTo>
                <a:lnTo>
                  <a:pt x="240" y="288"/>
                </a:lnTo>
                <a:lnTo>
                  <a:pt x="240" y="282"/>
                </a:lnTo>
                <a:lnTo>
                  <a:pt x="240" y="288"/>
                </a:lnTo>
                <a:lnTo>
                  <a:pt x="234" y="288"/>
                </a:lnTo>
                <a:lnTo>
                  <a:pt x="234" y="282"/>
                </a:lnTo>
                <a:lnTo>
                  <a:pt x="234" y="276"/>
                </a:lnTo>
                <a:lnTo>
                  <a:pt x="234" y="270"/>
                </a:lnTo>
                <a:lnTo>
                  <a:pt x="234" y="264"/>
                </a:lnTo>
                <a:lnTo>
                  <a:pt x="240" y="264"/>
                </a:lnTo>
                <a:lnTo>
                  <a:pt x="240" y="258"/>
                </a:lnTo>
                <a:lnTo>
                  <a:pt x="240" y="252"/>
                </a:lnTo>
                <a:lnTo>
                  <a:pt x="240" y="246"/>
                </a:lnTo>
                <a:lnTo>
                  <a:pt x="246" y="246"/>
                </a:lnTo>
                <a:lnTo>
                  <a:pt x="246" y="252"/>
                </a:lnTo>
                <a:lnTo>
                  <a:pt x="252" y="252"/>
                </a:lnTo>
                <a:lnTo>
                  <a:pt x="258" y="252"/>
                </a:lnTo>
                <a:lnTo>
                  <a:pt x="264" y="252"/>
                </a:lnTo>
                <a:lnTo>
                  <a:pt x="264" y="246"/>
                </a:lnTo>
                <a:lnTo>
                  <a:pt x="270" y="246"/>
                </a:lnTo>
                <a:lnTo>
                  <a:pt x="276" y="246"/>
                </a:lnTo>
                <a:lnTo>
                  <a:pt x="276" y="252"/>
                </a:lnTo>
                <a:lnTo>
                  <a:pt x="282" y="252"/>
                </a:lnTo>
                <a:lnTo>
                  <a:pt x="282" y="258"/>
                </a:lnTo>
                <a:lnTo>
                  <a:pt x="288" y="258"/>
                </a:lnTo>
                <a:lnTo>
                  <a:pt x="288" y="252"/>
                </a:lnTo>
                <a:lnTo>
                  <a:pt x="288" y="246"/>
                </a:lnTo>
                <a:lnTo>
                  <a:pt x="294" y="246"/>
                </a:lnTo>
                <a:lnTo>
                  <a:pt x="294" y="252"/>
                </a:lnTo>
                <a:lnTo>
                  <a:pt x="300" y="252"/>
                </a:lnTo>
                <a:lnTo>
                  <a:pt x="306" y="252"/>
                </a:lnTo>
                <a:lnTo>
                  <a:pt x="306" y="258"/>
                </a:lnTo>
                <a:lnTo>
                  <a:pt x="312" y="258"/>
                </a:lnTo>
                <a:lnTo>
                  <a:pt x="318" y="264"/>
                </a:lnTo>
                <a:lnTo>
                  <a:pt x="324" y="270"/>
                </a:lnTo>
                <a:lnTo>
                  <a:pt x="330" y="276"/>
                </a:lnTo>
                <a:lnTo>
                  <a:pt x="336" y="282"/>
                </a:lnTo>
                <a:lnTo>
                  <a:pt x="342" y="282"/>
                </a:lnTo>
                <a:lnTo>
                  <a:pt x="342" y="288"/>
                </a:lnTo>
                <a:lnTo>
                  <a:pt x="342" y="294"/>
                </a:lnTo>
                <a:lnTo>
                  <a:pt x="336" y="294"/>
                </a:lnTo>
                <a:lnTo>
                  <a:pt x="336" y="300"/>
                </a:lnTo>
                <a:lnTo>
                  <a:pt x="336" y="306"/>
                </a:lnTo>
                <a:lnTo>
                  <a:pt x="342" y="306"/>
                </a:lnTo>
                <a:lnTo>
                  <a:pt x="342" y="300"/>
                </a:lnTo>
                <a:lnTo>
                  <a:pt x="348" y="306"/>
                </a:lnTo>
                <a:lnTo>
                  <a:pt x="348" y="300"/>
                </a:lnTo>
                <a:lnTo>
                  <a:pt x="354" y="300"/>
                </a:lnTo>
                <a:lnTo>
                  <a:pt x="354" y="294"/>
                </a:lnTo>
                <a:lnTo>
                  <a:pt x="354" y="288"/>
                </a:lnTo>
                <a:lnTo>
                  <a:pt x="360" y="288"/>
                </a:lnTo>
                <a:lnTo>
                  <a:pt x="360" y="282"/>
                </a:lnTo>
                <a:lnTo>
                  <a:pt x="366" y="276"/>
                </a:lnTo>
                <a:lnTo>
                  <a:pt x="366" y="282"/>
                </a:lnTo>
                <a:lnTo>
                  <a:pt x="372" y="282"/>
                </a:lnTo>
                <a:lnTo>
                  <a:pt x="372" y="276"/>
                </a:lnTo>
                <a:lnTo>
                  <a:pt x="378" y="276"/>
                </a:lnTo>
                <a:lnTo>
                  <a:pt x="378" y="270"/>
                </a:lnTo>
                <a:lnTo>
                  <a:pt x="378" y="264"/>
                </a:lnTo>
                <a:lnTo>
                  <a:pt x="378" y="258"/>
                </a:lnTo>
                <a:lnTo>
                  <a:pt x="384" y="252"/>
                </a:lnTo>
                <a:lnTo>
                  <a:pt x="384" y="246"/>
                </a:lnTo>
                <a:lnTo>
                  <a:pt x="390" y="246"/>
                </a:lnTo>
                <a:lnTo>
                  <a:pt x="396" y="246"/>
                </a:lnTo>
                <a:lnTo>
                  <a:pt x="390" y="246"/>
                </a:lnTo>
                <a:lnTo>
                  <a:pt x="396" y="246"/>
                </a:lnTo>
                <a:lnTo>
                  <a:pt x="396" y="240"/>
                </a:lnTo>
                <a:lnTo>
                  <a:pt x="396" y="246"/>
                </a:lnTo>
                <a:lnTo>
                  <a:pt x="402" y="246"/>
                </a:lnTo>
                <a:lnTo>
                  <a:pt x="402" y="240"/>
                </a:lnTo>
                <a:lnTo>
                  <a:pt x="396" y="240"/>
                </a:lnTo>
                <a:lnTo>
                  <a:pt x="396" y="234"/>
                </a:lnTo>
                <a:lnTo>
                  <a:pt x="396" y="228"/>
                </a:lnTo>
                <a:lnTo>
                  <a:pt x="396" y="222"/>
                </a:lnTo>
                <a:lnTo>
                  <a:pt x="396" y="216"/>
                </a:lnTo>
                <a:lnTo>
                  <a:pt x="390" y="216"/>
                </a:lnTo>
                <a:lnTo>
                  <a:pt x="396" y="216"/>
                </a:lnTo>
                <a:lnTo>
                  <a:pt x="396" y="210"/>
                </a:lnTo>
                <a:lnTo>
                  <a:pt x="396" y="216"/>
                </a:lnTo>
                <a:lnTo>
                  <a:pt x="402" y="216"/>
                </a:lnTo>
                <a:lnTo>
                  <a:pt x="408" y="216"/>
                </a:lnTo>
                <a:lnTo>
                  <a:pt x="408" y="210"/>
                </a:lnTo>
                <a:lnTo>
                  <a:pt x="414" y="210"/>
                </a:lnTo>
                <a:lnTo>
                  <a:pt x="414" y="204"/>
                </a:lnTo>
                <a:lnTo>
                  <a:pt x="420" y="204"/>
                </a:lnTo>
                <a:lnTo>
                  <a:pt x="420" y="198"/>
                </a:lnTo>
                <a:lnTo>
                  <a:pt x="426" y="198"/>
                </a:lnTo>
                <a:lnTo>
                  <a:pt x="432" y="198"/>
                </a:lnTo>
                <a:lnTo>
                  <a:pt x="438" y="192"/>
                </a:lnTo>
                <a:lnTo>
                  <a:pt x="444" y="192"/>
                </a:lnTo>
                <a:lnTo>
                  <a:pt x="450" y="192"/>
                </a:lnTo>
                <a:lnTo>
                  <a:pt x="450" y="186"/>
                </a:lnTo>
                <a:lnTo>
                  <a:pt x="450" y="180"/>
                </a:lnTo>
                <a:lnTo>
                  <a:pt x="444" y="174"/>
                </a:lnTo>
                <a:lnTo>
                  <a:pt x="444" y="168"/>
                </a:lnTo>
                <a:lnTo>
                  <a:pt x="450" y="168"/>
                </a:lnTo>
                <a:lnTo>
                  <a:pt x="450" y="162"/>
                </a:lnTo>
                <a:lnTo>
                  <a:pt x="450" y="156"/>
                </a:lnTo>
                <a:lnTo>
                  <a:pt x="450" y="150"/>
                </a:lnTo>
                <a:lnTo>
                  <a:pt x="450" y="144"/>
                </a:lnTo>
                <a:lnTo>
                  <a:pt x="450" y="138"/>
                </a:lnTo>
                <a:lnTo>
                  <a:pt x="456" y="138"/>
                </a:lnTo>
                <a:lnTo>
                  <a:pt x="456" y="132"/>
                </a:lnTo>
                <a:lnTo>
                  <a:pt x="462" y="132"/>
                </a:lnTo>
                <a:lnTo>
                  <a:pt x="462" y="126"/>
                </a:lnTo>
                <a:lnTo>
                  <a:pt x="456" y="126"/>
                </a:lnTo>
                <a:lnTo>
                  <a:pt x="456" y="120"/>
                </a:lnTo>
                <a:lnTo>
                  <a:pt x="450" y="120"/>
                </a:lnTo>
                <a:lnTo>
                  <a:pt x="450" y="114"/>
                </a:lnTo>
                <a:lnTo>
                  <a:pt x="456" y="114"/>
                </a:lnTo>
                <a:lnTo>
                  <a:pt x="456" y="108"/>
                </a:lnTo>
                <a:lnTo>
                  <a:pt x="456" y="102"/>
                </a:lnTo>
                <a:lnTo>
                  <a:pt x="462" y="102"/>
                </a:lnTo>
                <a:lnTo>
                  <a:pt x="468" y="102"/>
                </a:lnTo>
                <a:lnTo>
                  <a:pt x="462" y="102"/>
                </a:lnTo>
                <a:lnTo>
                  <a:pt x="462" y="96"/>
                </a:lnTo>
                <a:lnTo>
                  <a:pt x="462" y="90"/>
                </a:lnTo>
                <a:lnTo>
                  <a:pt x="462" y="84"/>
                </a:lnTo>
                <a:lnTo>
                  <a:pt x="462" y="78"/>
                </a:lnTo>
                <a:lnTo>
                  <a:pt x="468" y="78"/>
                </a:lnTo>
                <a:lnTo>
                  <a:pt x="474" y="78"/>
                </a:lnTo>
                <a:lnTo>
                  <a:pt x="474" y="72"/>
                </a:lnTo>
                <a:lnTo>
                  <a:pt x="474" y="66"/>
                </a:lnTo>
                <a:lnTo>
                  <a:pt x="480" y="66"/>
                </a:lnTo>
                <a:lnTo>
                  <a:pt x="480" y="72"/>
                </a:lnTo>
                <a:lnTo>
                  <a:pt x="486" y="72"/>
                </a:lnTo>
                <a:lnTo>
                  <a:pt x="492" y="72"/>
                </a:lnTo>
                <a:lnTo>
                  <a:pt x="492" y="66"/>
                </a:lnTo>
                <a:lnTo>
                  <a:pt x="492" y="60"/>
                </a:lnTo>
                <a:lnTo>
                  <a:pt x="498" y="60"/>
                </a:lnTo>
                <a:lnTo>
                  <a:pt x="498" y="66"/>
                </a:lnTo>
                <a:lnTo>
                  <a:pt x="504" y="66"/>
                </a:lnTo>
                <a:lnTo>
                  <a:pt x="504" y="60"/>
                </a:lnTo>
                <a:lnTo>
                  <a:pt x="504" y="66"/>
                </a:lnTo>
                <a:lnTo>
                  <a:pt x="510" y="66"/>
                </a:lnTo>
                <a:lnTo>
                  <a:pt x="510" y="60"/>
                </a:lnTo>
                <a:lnTo>
                  <a:pt x="504" y="60"/>
                </a:lnTo>
                <a:lnTo>
                  <a:pt x="510" y="54"/>
                </a:lnTo>
                <a:lnTo>
                  <a:pt x="510" y="48"/>
                </a:lnTo>
                <a:lnTo>
                  <a:pt x="510" y="42"/>
                </a:lnTo>
                <a:lnTo>
                  <a:pt x="504" y="36"/>
                </a:lnTo>
                <a:lnTo>
                  <a:pt x="510" y="36"/>
                </a:lnTo>
                <a:lnTo>
                  <a:pt x="510" y="30"/>
                </a:lnTo>
                <a:lnTo>
                  <a:pt x="516" y="30"/>
                </a:lnTo>
                <a:lnTo>
                  <a:pt x="516" y="36"/>
                </a:lnTo>
                <a:lnTo>
                  <a:pt x="522" y="36"/>
                </a:lnTo>
                <a:lnTo>
                  <a:pt x="522" y="30"/>
                </a:lnTo>
                <a:lnTo>
                  <a:pt x="522" y="24"/>
                </a:lnTo>
                <a:lnTo>
                  <a:pt x="516" y="30"/>
                </a:lnTo>
                <a:lnTo>
                  <a:pt x="510" y="24"/>
                </a:lnTo>
                <a:lnTo>
                  <a:pt x="504" y="24"/>
                </a:lnTo>
                <a:lnTo>
                  <a:pt x="504" y="18"/>
                </a:lnTo>
                <a:lnTo>
                  <a:pt x="504" y="12"/>
                </a:lnTo>
                <a:lnTo>
                  <a:pt x="510" y="12"/>
                </a:lnTo>
                <a:lnTo>
                  <a:pt x="510" y="6"/>
                </a:lnTo>
                <a:lnTo>
                  <a:pt x="516" y="6"/>
                </a:lnTo>
                <a:lnTo>
                  <a:pt x="522" y="6"/>
                </a:lnTo>
                <a:lnTo>
                  <a:pt x="528" y="6"/>
                </a:lnTo>
                <a:lnTo>
                  <a:pt x="534" y="6"/>
                </a:lnTo>
                <a:lnTo>
                  <a:pt x="540" y="6"/>
                </a:lnTo>
                <a:lnTo>
                  <a:pt x="540" y="12"/>
                </a:lnTo>
                <a:lnTo>
                  <a:pt x="540" y="18"/>
                </a:lnTo>
                <a:lnTo>
                  <a:pt x="540" y="24"/>
                </a:lnTo>
                <a:lnTo>
                  <a:pt x="546" y="24"/>
                </a:lnTo>
                <a:lnTo>
                  <a:pt x="546" y="18"/>
                </a:lnTo>
                <a:lnTo>
                  <a:pt x="546" y="24"/>
                </a:lnTo>
                <a:lnTo>
                  <a:pt x="552" y="24"/>
                </a:lnTo>
                <a:lnTo>
                  <a:pt x="552" y="18"/>
                </a:lnTo>
                <a:lnTo>
                  <a:pt x="558" y="18"/>
                </a:lnTo>
                <a:lnTo>
                  <a:pt x="558" y="24"/>
                </a:lnTo>
                <a:lnTo>
                  <a:pt x="558" y="30"/>
                </a:lnTo>
                <a:lnTo>
                  <a:pt x="564" y="30"/>
                </a:lnTo>
                <a:lnTo>
                  <a:pt x="570" y="30"/>
                </a:lnTo>
                <a:lnTo>
                  <a:pt x="576" y="30"/>
                </a:lnTo>
                <a:lnTo>
                  <a:pt x="576" y="36"/>
                </a:lnTo>
                <a:lnTo>
                  <a:pt x="582" y="30"/>
                </a:lnTo>
                <a:lnTo>
                  <a:pt x="588" y="30"/>
                </a:lnTo>
                <a:lnTo>
                  <a:pt x="588" y="36"/>
                </a:lnTo>
                <a:lnTo>
                  <a:pt x="594" y="36"/>
                </a:lnTo>
                <a:lnTo>
                  <a:pt x="600" y="36"/>
                </a:lnTo>
                <a:lnTo>
                  <a:pt x="606" y="36"/>
                </a:lnTo>
                <a:lnTo>
                  <a:pt x="606" y="30"/>
                </a:lnTo>
                <a:lnTo>
                  <a:pt x="612" y="30"/>
                </a:lnTo>
                <a:lnTo>
                  <a:pt x="612" y="36"/>
                </a:lnTo>
                <a:lnTo>
                  <a:pt x="612" y="42"/>
                </a:lnTo>
                <a:lnTo>
                  <a:pt x="606" y="42"/>
                </a:lnTo>
                <a:lnTo>
                  <a:pt x="606" y="48"/>
                </a:lnTo>
                <a:lnTo>
                  <a:pt x="606" y="54"/>
                </a:lnTo>
                <a:lnTo>
                  <a:pt x="606" y="60"/>
                </a:lnTo>
                <a:lnTo>
                  <a:pt x="606" y="66"/>
                </a:lnTo>
                <a:lnTo>
                  <a:pt x="606" y="72"/>
                </a:lnTo>
                <a:lnTo>
                  <a:pt x="606" y="78"/>
                </a:lnTo>
                <a:lnTo>
                  <a:pt x="612" y="78"/>
                </a:lnTo>
                <a:lnTo>
                  <a:pt x="612" y="72"/>
                </a:lnTo>
                <a:lnTo>
                  <a:pt x="618" y="72"/>
                </a:lnTo>
                <a:lnTo>
                  <a:pt x="618" y="66"/>
                </a:lnTo>
                <a:lnTo>
                  <a:pt x="624" y="72"/>
                </a:lnTo>
                <a:lnTo>
                  <a:pt x="624" y="66"/>
                </a:lnTo>
                <a:lnTo>
                  <a:pt x="630" y="66"/>
                </a:lnTo>
                <a:lnTo>
                  <a:pt x="630" y="72"/>
                </a:lnTo>
                <a:lnTo>
                  <a:pt x="636" y="72"/>
                </a:lnTo>
                <a:lnTo>
                  <a:pt x="636" y="78"/>
                </a:lnTo>
                <a:lnTo>
                  <a:pt x="636" y="84"/>
                </a:lnTo>
                <a:lnTo>
                  <a:pt x="642" y="84"/>
                </a:lnTo>
                <a:lnTo>
                  <a:pt x="642" y="90"/>
                </a:lnTo>
                <a:lnTo>
                  <a:pt x="648" y="90"/>
                </a:lnTo>
                <a:lnTo>
                  <a:pt x="654" y="90"/>
                </a:lnTo>
                <a:lnTo>
                  <a:pt x="654" y="96"/>
                </a:lnTo>
                <a:lnTo>
                  <a:pt x="660" y="96"/>
                </a:lnTo>
                <a:lnTo>
                  <a:pt x="660" y="102"/>
                </a:lnTo>
                <a:lnTo>
                  <a:pt x="660" y="108"/>
                </a:lnTo>
                <a:lnTo>
                  <a:pt x="666" y="108"/>
                </a:lnTo>
                <a:lnTo>
                  <a:pt x="666" y="102"/>
                </a:lnTo>
                <a:lnTo>
                  <a:pt x="666" y="96"/>
                </a:lnTo>
                <a:lnTo>
                  <a:pt x="660" y="96"/>
                </a:lnTo>
                <a:lnTo>
                  <a:pt x="660" y="90"/>
                </a:lnTo>
                <a:lnTo>
                  <a:pt x="666" y="90"/>
                </a:lnTo>
                <a:lnTo>
                  <a:pt x="666" y="84"/>
                </a:lnTo>
                <a:lnTo>
                  <a:pt x="672" y="84"/>
                </a:lnTo>
                <a:lnTo>
                  <a:pt x="678" y="78"/>
                </a:lnTo>
                <a:lnTo>
                  <a:pt x="678" y="72"/>
                </a:lnTo>
                <a:lnTo>
                  <a:pt x="684" y="72"/>
                </a:lnTo>
                <a:lnTo>
                  <a:pt x="690" y="72"/>
                </a:lnTo>
                <a:lnTo>
                  <a:pt x="696" y="72"/>
                </a:lnTo>
                <a:lnTo>
                  <a:pt x="696" y="66"/>
                </a:lnTo>
                <a:lnTo>
                  <a:pt x="702" y="60"/>
                </a:lnTo>
                <a:lnTo>
                  <a:pt x="702" y="54"/>
                </a:lnTo>
                <a:lnTo>
                  <a:pt x="708" y="48"/>
                </a:lnTo>
                <a:lnTo>
                  <a:pt x="702" y="48"/>
                </a:lnTo>
                <a:lnTo>
                  <a:pt x="702" y="42"/>
                </a:lnTo>
                <a:lnTo>
                  <a:pt x="702" y="36"/>
                </a:lnTo>
                <a:lnTo>
                  <a:pt x="708" y="36"/>
                </a:lnTo>
                <a:lnTo>
                  <a:pt x="708" y="30"/>
                </a:lnTo>
                <a:lnTo>
                  <a:pt x="708" y="24"/>
                </a:lnTo>
                <a:lnTo>
                  <a:pt x="708" y="18"/>
                </a:lnTo>
                <a:lnTo>
                  <a:pt x="714" y="18"/>
                </a:lnTo>
                <a:lnTo>
                  <a:pt x="720" y="18"/>
                </a:lnTo>
                <a:lnTo>
                  <a:pt x="720" y="12"/>
                </a:lnTo>
                <a:lnTo>
                  <a:pt x="726" y="12"/>
                </a:lnTo>
                <a:lnTo>
                  <a:pt x="720" y="12"/>
                </a:lnTo>
                <a:lnTo>
                  <a:pt x="720" y="6"/>
                </a:lnTo>
                <a:lnTo>
                  <a:pt x="726" y="6"/>
                </a:lnTo>
                <a:lnTo>
                  <a:pt x="720" y="6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0" name="Freeform 8">
            <a:extLst>
              <a:ext uri="{FF2B5EF4-FFF2-40B4-BE49-F238E27FC236}">
                <a16:creationId xmlns:a16="http://schemas.microsoft.com/office/drawing/2014/main" id="{B950E13C-8AF2-4EEB-8EB8-81A496970623}"/>
              </a:ext>
            </a:extLst>
          </p:cNvPr>
          <p:cNvSpPr>
            <a:spLocks/>
          </p:cNvSpPr>
          <p:nvPr/>
        </p:nvSpPr>
        <p:spPr bwMode="gray">
          <a:xfrm rot="533595">
            <a:off x="3953932" y="2882719"/>
            <a:ext cx="854522" cy="1193648"/>
          </a:xfrm>
          <a:custGeom>
            <a:avLst/>
            <a:gdLst>
              <a:gd name="T0" fmla="*/ 636 w 942"/>
              <a:gd name="T1" fmla="*/ 114 h 1410"/>
              <a:gd name="T2" fmla="*/ 660 w 942"/>
              <a:gd name="T3" fmla="*/ 186 h 1410"/>
              <a:gd name="T4" fmla="*/ 624 w 942"/>
              <a:gd name="T5" fmla="*/ 246 h 1410"/>
              <a:gd name="T6" fmla="*/ 642 w 942"/>
              <a:gd name="T7" fmla="*/ 318 h 1410"/>
              <a:gd name="T8" fmla="*/ 588 w 942"/>
              <a:gd name="T9" fmla="*/ 366 h 1410"/>
              <a:gd name="T10" fmla="*/ 606 w 942"/>
              <a:gd name="T11" fmla="*/ 432 h 1410"/>
              <a:gd name="T12" fmla="*/ 636 w 942"/>
              <a:gd name="T13" fmla="*/ 492 h 1410"/>
              <a:gd name="T14" fmla="*/ 618 w 942"/>
              <a:gd name="T15" fmla="*/ 528 h 1410"/>
              <a:gd name="T16" fmla="*/ 654 w 942"/>
              <a:gd name="T17" fmla="*/ 594 h 1410"/>
              <a:gd name="T18" fmla="*/ 648 w 942"/>
              <a:gd name="T19" fmla="*/ 660 h 1410"/>
              <a:gd name="T20" fmla="*/ 660 w 942"/>
              <a:gd name="T21" fmla="*/ 756 h 1410"/>
              <a:gd name="T22" fmla="*/ 666 w 942"/>
              <a:gd name="T23" fmla="*/ 810 h 1410"/>
              <a:gd name="T24" fmla="*/ 720 w 942"/>
              <a:gd name="T25" fmla="*/ 834 h 1410"/>
              <a:gd name="T26" fmla="*/ 744 w 942"/>
              <a:gd name="T27" fmla="*/ 888 h 1410"/>
              <a:gd name="T28" fmla="*/ 798 w 942"/>
              <a:gd name="T29" fmla="*/ 918 h 1410"/>
              <a:gd name="T30" fmla="*/ 828 w 942"/>
              <a:gd name="T31" fmla="*/ 960 h 1410"/>
              <a:gd name="T32" fmla="*/ 900 w 942"/>
              <a:gd name="T33" fmla="*/ 954 h 1410"/>
              <a:gd name="T34" fmla="*/ 936 w 942"/>
              <a:gd name="T35" fmla="*/ 1008 h 1410"/>
              <a:gd name="T36" fmla="*/ 918 w 942"/>
              <a:gd name="T37" fmla="*/ 1068 h 1410"/>
              <a:gd name="T38" fmla="*/ 876 w 942"/>
              <a:gd name="T39" fmla="*/ 1122 h 1410"/>
              <a:gd name="T40" fmla="*/ 822 w 942"/>
              <a:gd name="T41" fmla="*/ 1092 h 1410"/>
              <a:gd name="T42" fmla="*/ 780 w 942"/>
              <a:gd name="T43" fmla="*/ 1050 h 1410"/>
              <a:gd name="T44" fmla="*/ 720 w 942"/>
              <a:gd name="T45" fmla="*/ 1032 h 1410"/>
              <a:gd name="T46" fmla="*/ 720 w 942"/>
              <a:gd name="T47" fmla="*/ 1086 h 1410"/>
              <a:gd name="T48" fmla="*/ 678 w 942"/>
              <a:gd name="T49" fmla="*/ 1122 h 1410"/>
              <a:gd name="T50" fmla="*/ 666 w 942"/>
              <a:gd name="T51" fmla="*/ 1188 h 1410"/>
              <a:gd name="T52" fmla="*/ 612 w 942"/>
              <a:gd name="T53" fmla="*/ 1236 h 1410"/>
              <a:gd name="T54" fmla="*/ 594 w 942"/>
              <a:gd name="T55" fmla="*/ 1290 h 1410"/>
              <a:gd name="T56" fmla="*/ 558 w 942"/>
              <a:gd name="T57" fmla="*/ 1308 h 1410"/>
              <a:gd name="T58" fmla="*/ 486 w 942"/>
              <a:gd name="T59" fmla="*/ 1266 h 1410"/>
              <a:gd name="T60" fmla="*/ 456 w 942"/>
              <a:gd name="T61" fmla="*/ 1314 h 1410"/>
              <a:gd name="T62" fmla="*/ 408 w 942"/>
              <a:gd name="T63" fmla="*/ 1344 h 1410"/>
              <a:gd name="T64" fmla="*/ 336 w 942"/>
              <a:gd name="T65" fmla="*/ 1350 h 1410"/>
              <a:gd name="T66" fmla="*/ 282 w 942"/>
              <a:gd name="T67" fmla="*/ 1404 h 1410"/>
              <a:gd name="T68" fmla="*/ 264 w 942"/>
              <a:gd name="T69" fmla="*/ 1362 h 1410"/>
              <a:gd name="T70" fmla="*/ 210 w 942"/>
              <a:gd name="T71" fmla="*/ 1314 h 1410"/>
              <a:gd name="T72" fmla="*/ 150 w 942"/>
              <a:gd name="T73" fmla="*/ 1296 h 1410"/>
              <a:gd name="T74" fmla="*/ 156 w 942"/>
              <a:gd name="T75" fmla="*/ 1224 h 1410"/>
              <a:gd name="T76" fmla="*/ 132 w 942"/>
              <a:gd name="T77" fmla="*/ 1164 h 1410"/>
              <a:gd name="T78" fmla="*/ 90 w 942"/>
              <a:gd name="T79" fmla="*/ 1092 h 1410"/>
              <a:gd name="T80" fmla="*/ 78 w 942"/>
              <a:gd name="T81" fmla="*/ 1032 h 1410"/>
              <a:gd name="T82" fmla="*/ 114 w 942"/>
              <a:gd name="T83" fmla="*/ 954 h 1410"/>
              <a:gd name="T84" fmla="*/ 126 w 942"/>
              <a:gd name="T85" fmla="*/ 882 h 1410"/>
              <a:gd name="T86" fmla="*/ 90 w 942"/>
              <a:gd name="T87" fmla="*/ 822 h 1410"/>
              <a:gd name="T88" fmla="*/ 96 w 942"/>
              <a:gd name="T89" fmla="*/ 732 h 1410"/>
              <a:gd name="T90" fmla="*/ 30 w 942"/>
              <a:gd name="T91" fmla="*/ 702 h 1410"/>
              <a:gd name="T92" fmla="*/ 6 w 942"/>
              <a:gd name="T93" fmla="*/ 612 h 1410"/>
              <a:gd name="T94" fmla="*/ 42 w 942"/>
              <a:gd name="T95" fmla="*/ 528 h 1410"/>
              <a:gd name="T96" fmla="*/ 24 w 942"/>
              <a:gd name="T97" fmla="*/ 444 h 1410"/>
              <a:gd name="T98" fmla="*/ 60 w 942"/>
              <a:gd name="T99" fmla="*/ 420 h 1410"/>
              <a:gd name="T100" fmla="*/ 108 w 942"/>
              <a:gd name="T101" fmla="*/ 348 h 1410"/>
              <a:gd name="T102" fmla="*/ 126 w 942"/>
              <a:gd name="T103" fmla="*/ 270 h 1410"/>
              <a:gd name="T104" fmla="*/ 156 w 942"/>
              <a:gd name="T105" fmla="*/ 222 h 1410"/>
              <a:gd name="T106" fmla="*/ 222 w 942"/>
              <a:gd name="T107" fmla="*/ 240 h 1410"/>
              <a:gd name="T108" fmla="*/ 312 w 942"/>
              <a:gd name="T109" fmla="*/ 216 h 1410"/>
              <a:gd name="T110" fmla="*/ 336 w 942"/>
              <a:gd name="T111" fmla="*/ 150 h 1410"/>
              <a:gd name="T112" fmla="*/ 402 w 942"/>
              <a:gd name="T113" fmla="*/ 120 h 1410"/>
              <a:gd name="T114" fmla="*/ 474 w 942"/>
              <a:gd name="T115" fmla="*/ 120 h 1410"/>
              <a:gd name="T116" fmla="*/ 552 w 942"/>
              <a:gd name="T117" fmla="*/ 96 h 1410"/>
              <a:gd name="T118" fmla="*/ 564 w 942"/>
              <a:gd name="T119" fmla="*/ 36 h 1410"/>
              <a:gd name="T120" fmla="*/ 648 w 942"/>
              <a:gd name="T121" fmla="*/ 12 h 141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42" h="1410">
                <a:moveTo>
                  <a:pt x="642" y="60"/>
                </a:moveTo>
                <a:lnTo>
                  <a:pt x="636" y="60"/>
                </a:lnTo>
                <a:lnTo>
                  <a:pt x="636" y="66"/>
                </a:lnTo>
                <a:lnTo>
                  <a:pt x="636" y="72"/>
                </a:lnTo>
                <a:lnTo>
                  <a:pt x="636" y="78"/>
                </a:lnTo>
                <a:lnTo>
                  <a:pt x="642" y="78"/>
                </a:lnTo>
                <a:lnTo>
                  <a:pt x="642" y="84"/>
                </a:lnTo>
                <a:lnTo>
                  <a:pt x="642" y="90"/>
                </a:lnTo>
                <a:lnTo>
                  <a:pt x="636" y="90"/>
                </a:lnTo>
                <a:lnTo>
                  <a:pt x="636" y="96"/>
                </a:lnTo>
                <a:lnTo>
                  <a:pt x="636" y="102"/>
                </a:lnTo>
                <a:lnTo>
                  <a:pt x="642" y="102"/>
                </a:lnTo>
                <a:lnTo>
                  <a:pt x="636" y="102"/>
                </a:lnTo>
                <a:lnTo>
                  <a:pt x="642" y="102"/>
                </a:lnTo>
                <a:lnTo>
                  <a:pt x="642" y="108"/>
                </a:lnTo>
                <a:lnTo>
                  <a:pt x="636" y="108"/>
                </a:lnTo>
                <a:lnTo>
                  <a:pt x="642" y="108"/>
                </a:lnTo>
                <a:lnTo>
                  <a:pt x="642" y="114"/>
                </a:lnTo>
                <a:lnTo>
                  <a:pt x="636" y="114"/>
                </a:lnTo>
                <a:lnTo>
                  <a:pt x="642" y="114"/>
                </a:lnTo>
                <a:lnTo>
                  <a:pt x="642" y="120"/>
                </a:lnTo>
                <a:lnTo>
                  <a:pt x="642" y="114"/>
                </a:lnTo>
                <a:lnTo>
                  <a:pt x="642" y="120"/>
                </a:lnTo>
                <a:lnTo>
                  <a:pt x="648" y="126"/>
                </a:lnTo>
                <a:lnTo>
                  <a:pt x="648" y="132"/>
                </a:lnTo>
                <a:lnTo>
                  <a:pt x="648" y="138"/>
                </a:lnTo>
                <a:lnTo>
                  <a:pt x="654" y="138"/>
                </a:lnTo>
                <a:lnTo>
                  <a:pt x="654" y="144"/>
                </a:lnTo>
                <a:lnTo>
                  <a:pt x="654" y="150"/>
                </a:lnTo>
                <a:lnTo>
                  <a:pt x="654" y="156"/>
                </a:lnTo>
                <a:lnTo>
                  <a:pt x="660" y="156"/>
                </a:lnTo>
                <a:lnTo>
                  <a:pt x="654" y="162"/>
                </a:lnTo>
                <a:lnTo>
                  <a:pt x="660" y="162"/>
                </a:lnTo>
                <a:lnTo>
                  <a:pt x="654" y="162"/>
                </a:lnTo>
                <a:lnTo>
                  <a:pt x="654" y="168"/>
                </a:lnTo>
                <a:lnTo>
                  <a:pt x="654" y="174"/>
                </a:lnTo>
                <a:lnTo>
                  <a:pt x="660" y="180"/>
                </a:lnTo>
                <a:lnTo>
                  <a:pt x="660" y="186"/>
                </a:lnTo>
                <a:lnTo>
                  <a:pt x="660" y="192"/>
                </a:lnTo>
                <a:lnTo>
                  <a:pt x="654" y="192"/>
                </a:lnTo>
                <a:lnTo>
                  <a:pt x="654" y="198"/>
                </a:lnTo>
                <a:lnTo>
                  <a:pt x="660" y="198"/>
                </a:lnTo>
                <a:lnTo>
                  <a:pt x="660" y="204"/>
                </a:lnTo>
                <a:lnTo>
                  <a:pt x="654" y="204"/>
                </a:lnTo>
                <a:lnTo>
                  <a:pt x="648" y="204"/>
                </a:lnTo>
                <a:lnTo>
                  <a:pt x="648" y="210"/>
                </a:lnTo>
                <a:lnTo>
                  <a:pt x="648" y="216"/>
                </a:lnTo>
                <a:lnTo>
                  <a:pt x="642" y="222"/>
                </a:lnTo>
                <a:lnTo>
                  <a:pt x="636" y="222"/>
                </a:lnTo>
                <a:lnTo>
                  <a:pt x="630" y="216"/>
                </a:lnTo>
                <a:lnTo>
                  <a:pt x="630" y="222"/>
                </a:lnTo>
                <a:lnTo>
                  <a:pt x="624" y="222"/>
                </a:lnTo>
                <a:lnTo>
                  <a:pt x="624" y="228"/>
                </a:lnTo>
                <a:lnTo>
                  <a:pt x="630" y="228"/>
                </a:lnTo>
                <a:lnTo>
                  <a:pt x="624" y="234"/>
                </a:lnTo>
                <a:lnTo>
                  <a:pt x="624" y="240"/>
                </a:lnTo>
                <a:lnTo>
                  <a:pt x="624" y="246"/>
                </a:lnTo>
                <a:lnTo>
                  <a:pt x="630" y="246"/>
                </a:lnTo>
                <a:lnTo>
                  <a:pt x="636" y="246"/>
                </a:lnTo>
                <a:lnTo>
                  <a:pt x="642" y="246"/>
                </a:lnTo>
                <a:lnTo>
                  <a:pt x="642" y="252"/>
                </a:lnTo>
                <a:lnTo>
                  <a:pt x="648" y="258"/>
                </a:lnTo>
                <a:lnTo>
                  <a:pt x="642" y="258"/>
                </a:lnTo>
                <a:lnTo>
                  <a:pt x="642" y="264"/>
                </a:lnTo>
                <a:lnTo>
                  <a:pt x="642" y="270"/>
                </a:lnTo>
                <a:lnTo>
                  <a:pt x="648" y="270"/>
                </a:lnTo>
                <a:lnTo>
                  <a:pt x="648" y="276"/>
                </a:lnTo>
                <a:lnTo>
                  <a:pt x="648" y="282"/>
                </a:lnTo>
                <a:lnTo>
                  <a:pt x="654" y="282"/>
                </a:lnTo>
                <a:lnTo>
                  <a:pt x="654" y="288"/>
                </a:lnTo>
                <a:lnTo>
                  <a:pt x="654" y="294"/>
                </a:lnTo>
                <a:lnTo>
                  <a:pt x="654" y="300"/>
                </a:lnTo>
                <a:lnTo>
                  <a:pt x="654" y="306"/>
                </a:lnTo>
                <a:lnTo>
                  <a:pt x="648" y="312"/>
                </a:lnTo>
                <a:lnTo>
                  <a:pt x="642" y="312"/>
                </a:lnTo>
                <a:lnTo>
                  <a:pt x="642" y="318"/>
                </a:lnTo>
                <a:lnTo>
                  <a:pt x="636" y="318"/>
                </a:lnTo>
                <a:lnTo>
                  <a:pt x="636" y="324"/>
                </a:lnTo>
                <a:lnTo>
                  <a:pt x="630" y="324"/>
                </a:lnTo>
                <a:lnTo>
                  <a:pt x="624" y="324"/>
                </a:lnTo>
                <a:lnTo>
                  <a:pt x="618" y="324"/>
                </a:lnTo>
                <a:lnTo>
                  <a:pt x="612" y="324"/>
                </a:lnTo>
                <a:lnTo>
                  <a:pt x="612" y="330"/>
                </a:lnTo>
                <a:lnTo>
                  <a:pt x="606" y="330"/>
                </a:lnTo>
                <a:lnTo>
                  <a:pt x="600" y="330"/>
                </a:lnTo>
                <a:lnTo>
                  <a:pt x="594" y="330"/>
                </a:lnTo>
                <a:lnTo>
                  <a:pt x="588" y="330"/>
                </a:lnTo>
                <a:lnTo>
                  <a:pt x="582" y="330"/>
                </a:lnTo>
                <a:lnTo>
                  <a:pt x="588" y="330"/>
                </a:lnTo>
                <a:lnTo>
                  <a:pt x="588" y="336"/>
                </a:lnTo>
                <a:lnTo>
                  <a:pt x="588" y="342"/>
                </a:lnTo>
                <a:lnTo>
                  <a:pt x="588" y="348"/>
                </a:lnTo>
                <a:lnTo>
                  <a:pt x="594" y="354"/>
                </a:lnTo>
                <a:lnTo>
                  <a:pt x="594" y="360"/>
                </a:lnTo>
                <a:lnTo>
                  <a:pt x="588" y="366"/>
                </a:lnTo>
                <a:lnTo>
                  <a:pt x="582" y="366"/>
                </a:lnTo>
                <a:lnTo>
                  <a:pt x="582" y="372"/>
                </a:lnTo>
                <a:lnTo>
                  <a:pt x="582" y="378"/>
                </a:lnTo>
                <a:lnTo>
                  <a:pt x="582" y="384"/>
                </a:lnTo>
                <a:lnTo>
                  <a:pt x="588" y="384"/>
                </a:lnTo>
                <a:lnTo>
                  <a:pt x="588" y="390"/>
                </a:lnTo>
                <a:lnTo>
                  <a:pt x="588" y="396"/>
                </a:lnTo>
                <a:lnTo>
                  <a:pt x="594" y="396"/>
                </a:lnTo>
                <a:lnTo>
                  <a:pt x="588" y="396"/>
                </a:lnTo>
                <a:lnTo>
                  <a:pt x="588" y="402"/>
                </a:lnTo>
                <a:lnTo>
                  <a:pt x="588" y="408"/>
                </a:lnTo>
                <a:lnTo>
                  <a:pt x="594" y="408"/>
                </a:lnTo>
                <a:lnTo>
                  <a:pt x="594" y="414"/>
                </a:lnTo>
                <a:lnTo>
                  <a:pt x="600" y="420"/>
                </a:lnTo>
                <a:lnTo>
                  <a:pt x="606" y="420"/>
                </a:lnTo>
                <a:lnTo>
                  <a:pt x="612" y="420"/>
                </a:lnTo>
                <a:lnTo>
                  <a:pt x="612" y="426"/>
                </a:lnTo>
                <a:lnTo>
                  <a:pt x="606" y="426"/>
                </a:lnTo>
                <a:lnTo>
                  <a:pt x="606" y="432"/>
                </a:lnTo>
                <a:lnTo>
                  <a:pt x="606" y="438"/>
                </a:lnTo>
                <a:lnTo>
                  <a:pt x="612" y="438"/>
                </a:lnTo>
                <a:lnTo>
                  <a:pt x="612" y="444"/>
                </a:lnTo>
                <a:lnTo>
                  <a:pt x="618" y="444"/>
                </a:lnTo>
                <a:lnTo>
                  <a:pt x="618" y="450"/>
                </a:lnTo>
                <a:lnTo>
                  <a:pt x="624" y="450"/>
                </a:lnTo>
                <a:lnTo>
                  <a:pt x="624" y="456"/>
                </a:lnTo>
                <a:lnTo>
                  <a:pt x="624" y="462"/>
                </a:lnTo>
                <a:lnTo>
                  <a:pt x="618" y="462"/>
                </a:lnTo>
                <a:lnTo>
                  <a:pt x="612" y="468"/>
                </a:lnTo>
                <a:lnTo>
                  <a:pt x="618" y="468"/>
                </a:lnTo>
                <a:lnTo>
                  <a:pt x="618" y="474"/>
                </a:lnTo>
                <a:lnTo>
                  <a:pt x="624" y="474"/>
                </a:lnTo>
                <a:lnTo>
                  <a:pt x="624" y="480"/>
                </a:lnTo>
                <a:lnTo>
                  <a:pt x="630" y="480"/>
                </a:lnTo>
                <a:lnTo>
                  <a:pt x="636" y="480"/>
                </a:lnTo>
                <a:lnTo>
                  <a:pt x="636" y="486"/>
                </a:lnTo>
                <a:lnTo>
                  <a:pt x="630" y="486"/>
                </a:lnTo>
                <a:lnTo>
                  <a:pt x="636" y="492"/>
                </a:lnTo>
                <a:lnTo>
                  <a:pt x="642" y="498"/>
                </a:lnTo>
                <a:lnTo>
                  <a:pt x="642" y="504"/>
                </a:lnTo>
                <a:lnTo>
                  <a:pt x="642" y="510"/>
                </a:lnTo>
                <a:lnTo>
                  <a:pt x="642" y="516"/>
                </a:lnTo>
                <a:lnTo>
                  <a:pt x="642" y="510"/>
                </a:lnTo>
                <a:lnTo>
                  <a:pt x="636" y="510"/>
                </a:lnTo>
                <a:lnTo>
                  <a:pt x="642" y="510"/>
                </a:lnTo>
                <a:lnTo>
                  <a:pt x="642" y="516"/>
                </a:lnTo>
                <a:lnTo>
                  <a:pt x="648" y="522"/>
                </a:lnTo>
                <a:lnTo>
                  <a:pt x="648" y="528"/>
                </a:lnTo>
                <a:lnTo>
                  <a:pt x="648" y="534"/>
                </a:lnTo>
                <a:lnTo>
                  <a:pt x="642" y="534"/>
                </a:lnTo>
                <a:lnTo>
                  <a:pt x="642" y="540"/>
                </a:lnTo>
                <a:lnTo>
                  <a:pt x="636" y="540"/>
                </a:lnTo>
                <a:lnTo>
                  <a:pt x="630" y="540"/>
                </a:lnTo>
                <a:lnTo>
                  <a:pt x="624" y="540"/>
                </a:lnTo>
                <a:lnTo>
                  <a:pt x="618" y="540"/>
                </a:lnTo>
                <a:lnTo>
                  <a:pt x="618" y="534"/>
                </a:lnTo>
                <a:lnTo>
                  <a:pt x="618" y="528"/>
                </a:lnTo>
                <a:lnTo>
                  <a:pt x="612" y="528"/>
                </a:lnTo>
                <a:lnTo>
                  <a:pt x="612" y="534"/>
                </a:lnTo>
                <a:lnTo>
                  <a:pt x="606" y="534"/>
                </a:lnTo>
                <a:lnTo>
                  <a:pt x="606" y="540"/>
                </a:lnTo>
                <a:lnTo>
                  <a:pt x="612" y="540"/>
                </a:lnTo>
                <a:lnTo>
                  <a:pt x="612" y="546"/>
                </a:lnTo>
                <a:lnTo>
                  <a:pt x="618" y="546"/>
                </a:lnTo>
                <a:lnTo>
                  <a:pt x="618" y="552"/>
                </a:lnTo>
                <a:lnTo>
                  <a:pt x="624" y="558"/>
                </a:lnTo>
                <a:lnTo>
                  <a:pt x="624" y="564"/>
                </a:lnTo>
                <a:lnTo>
                  <a:pt x="630" y="564"/>
                </a:lnTo>
                <a:lnTo>
                  <a:pt x="636" y="564"/>
                </a:lnTo>
                <a:lnTo>
                  <a:pt x="642" y="570"/>
                </a:lnTo>
                <a:lnTo>
                  <a:pt x="648" y="570"/>
                </a:lnTo>
                <a:lnTo>
                  <a:pt x="654" y="570"/>
                </a:lnTo>
                <a:lnTo>
                  <a:pt x="654" y="576"/>
                </a:lnTo>
                <a:lnTo>
                  <a:pt x="654" y="582"/>
                </a:lnTo>
                <a:lnTo>
                  <a:pt x="654" y="588"/>
                </a:lnTo>
                <a:lnTo>
                  <a:pt x="654" y="594"/>
                </a:lnTo>
                <a:lnTo>
                  <a:pt x="648" y="594"/>
                </a:lnTo>
                <a:lnTo>
                  <a:pt x="648" y="600"/>
                </a:lnTo>
                <a:lnTo>
                  <a:pt x="654" y="600"/>
                </a:lnTo>
                <a:lnTo>
                  <a:pt x="648" y="600"/>
                </a:lnTo>
                <a:lnTo>
                  <a:pt x="648" y="606"/>
                </a:lnTo>
                <a:lnTo>
                  <a:pt x="648" y="612"/>
                </a:lnTo>
                <a:lnTo>
                  <a:pt x="654" y="612"/>
                </a:lnTo>
                <a:lnTo>
                  <a:pt x="654" y="618"/>
                </a:lnTo>
                <a:lnTo>
                  <a:pt x="648" y="618"/>
                </a:lnTo>
                <a:lnTo>
                  <a:pt x="648" y="624"/>
                </a:lnTo>
                <a:lnTo>
                  <a:pt x="654" y="624"/>
                </a:lnTo>
                <a:lnTo>
                  <a:pt x="654" y="630"/>
                </a:lnTo>
                <a:lnTo>
                  <a:pt x="654" y="636"/>
                </a:lnTo>
                <a:lnTo>
                  <a:pt x="654" y="642"/>
                </a:lnTo>
                <a:lnTo>
                  <a:pt x="654" y="648"/>
                </a:lnTo>
                <a:lnTo>
                  <a:pt x="648" y="648"/>
                </a:lnTo>
                <a:lnTo>
                  <a:pt x="654" y="654"/>
                </a:lnTo>
                <a:lnTo>
                  <a:pt x="654" y="660"/>
                </a:lnTo>
                <a:lnTo>
                  <a:pt x="648" y="660"/>
                </a:lnTo>
                <a:lnTo>
                  <a:pt x="648" y="666"/>
                </a:lnTo>
                <a:lnTo>
                  <a:pt x="642" y="672"/>
                </a:lnTo>
                <a:lnTo>
                  <a:pt x="642" y="678"/>
                </a:lnTo>
                <a:lnTo>
                  <a:pt x="642" y="684"/>
                </a:lnTo>
                <a:lnTo>
                  <a:pt x="642" y="690"/>
                </a:lnTo>
                <a:lnTo>
                  <a:pt x="642" y="696"/>
                </a:lnTo>
                <a:lnTo>
                  <a:pt x="648" y="702"/>
                </a:lnTo>
                <a:lnTo>
                  <a:pt x="642" y="708"/>
                </a:lnTo>
                <a:lnTo>
                  <a:pt x="642" y="714"/>
                </a:lnTo>
                <a:lnTo>
                  <a:pt x="642" y="720"/>
                </a:lnTo>
                <a:lnTo>
                  <a:pt x="648" y="720"/>
                </a:lnTo>
                <a:lnTo>
                  <a:pt x="648" y="726"/>
                </a:lnTo>
                <a:lnTo>
                  <a:pt x="648" y="732"/>
                </a:lnTo>
                <a:lnTo>
                  <a:pt x="648" y="738"/>
                </a:lnTo>
                <a:lnTo>
                  <a:pt x="648" y="744"/>
                </a:lnTo>
                <a:lnTo>
                  <a:pt x="648" y="750"/>
                </a:lnTo>
                <a:lnTo>
                  <a:pt x="654" y="750"/>
                </a:lnTo>
                <a:lnTo>
                  <a:pt x="660" y="750"/>
                </a:lnTo>
                <a:lnTo>
                  <a:pt x="660" y="756"/>
                </a:lnTo>
                <a:lnTo>
                  <a:pt x="666" y="756"/>
                </a:lnTo>
                <a:lnTo>
                  <a:pt x="666" y="762"/>
                </a:lnTo>
                <a:lnTo>
                  <a:pt x="660" y="762"/>
                </a:lnTo>
                <a:lnTo>
                  <a:pt x="660" y="768"/>
                </a:lnTo>
                <a:lnTo>
                  <a:pt x="660" y="774"/>
                </a:lnTo>
                <a:lnTo>
                  <a:pt x="660" y="780"/>
                </a:lnTo>
                <a:lnTo>
                  <a:pt x="654" y="780"/>
                </a:lnTo>
                <a:lnTo>
                  <a:pt x="648" y="780"/>
                </a:lnTo>
                <a:lnTo>
                  <a:pt x="648" y="786"/>
                </a:lnTo>
                <a:lnTo>
                  <a:pt x="648" y="792"/>
                </a:lnTo>
                <a:lnTo>
                  <a:pt x="642" y="792"/>
                </a:lnTo>
                <a:lnTo>
                  <a:pt x="642" y="798"/>
                </a:lnTo>
                <a:lnTo>
                  <a:pt x="642" y="804"/>
                </a:lnTo>
                <a:lnTo>
                  <a:pt x="648" y="804"/>
                </a:lnTo>
                <a:lnTo>
                  <a:pt x="654" y="804"/>
                </a:lnTo>
                <a:lnTo>
                  <a:pt x="654" y="810"/>
                </a:lnTo>
                <a:lnTo>
                  <a:pt x="654" y="816"/>
                </a:lnTo>
                <a:lnTo>
                  <a:pt x="660" y="810"/>
                </a:lnTo>
                <a:lnTo>
                  <a:pt x="666" y="810"/>
                </a:lnTo>
                <a:lnTo>
                  <a:pt x="666" y="816"/>
                </a:lnTo>
                <a:lnTo>
                  <a:pt x="672" y="816"/>
                </a:lnTo>
                <a:lnTo>
                  <a:pt x="678" y="816"/>
                </a:lnTo>
                <a:lnTo>
                  <a:pt x="678" y="822"/>
                </a:lnTo>
                <a:lnTo>
                  <a:pt x="684" y="822"/>
                </a:lnTo>
                <a:lnTo>
                  <a:pt x="690" y="822"/>
                </a:lnTo>
                <a:lnTo>
                  <a:pt x="690" y="816"/>
                </a:lnTo>
                <a:lnTo>
                  <a:pt x="690" y="810"/>
                </a:lnTo>
                <a:lnTo>
                  <a:pt x="696" y="810"/>
                </a:lnTo>
                <a:lnTo>
                  <a:pt x="702" y="810"/>
                </a:lnTo>
                <a:lnTo>
                  <a:pt x="708" y="810"/>
                </a:lnTo>
                <a:lnTo>
                  <a:pt x="708" y="816"/>
                </a:lnTo>
                <a:lnTo>
                  <a:pt x="714" y="816"/>
                </a:lnTo>
                <a:lnTo>
                  <a:pt x="714" y="822"/>
                </a:lnTo>
                <a:lnTo>
                  <a:pt x="720" y="822"/>
                </a:lnTo>
                <a:lnTo>
                  <a:pt x="720" y="828"/>
                </a:lnTo>
                <a:lnTo>
                  <a:pt x="726" y="828"/>
                </a:lnTo>
                <a:lnTo>
                  <a:pt x="726" y="834"/>
                </a:lnTo>
                <a:lnTo>
                  <a:pt x="720" y="834"/>
                </a:lnTo>
                <a:lnTo>
                  <a:pt x="720" y="840"/>
                </a:lnTo>
                <a:lnTo>
                  <a:pt x="720" y="846"/>
                </a:lnTo>
                <a:lnTo>
                  <a:pt x="714" y="846"/>
                </a:lnTo>
                <a:lnTo>
                  <a:pt x="708" y="846"/>
                </a:lnTo>
                <a:lnTo>
                  <a:pt x="708" y="852"/>
                </a:lnTo>
                <a:lnTo>
                  <a:pt x="708" y="858"/>
                </a:lnTo>
                <a:lnTo>
                  <a:pt x="708" y="864"/>
                </a:lnTo>
                <a:lnTo>
                  <a:pt x="714" y="864"/>
                </a:lnTo>
                <a:lnTo>
                  <a:pt x="714" y="870"/>
                </a:lnTo>
                <a:lnTo>
                  <a:pt x="714" y="876"/>
                </a:lnTo>
                <a:lnTo>
                  <a:pt x="720" y="876"/>
                </a:lnTo>
                <a:lnTo>
                  <a:pt x="726" y="876"/>
                </a:lnTo>
                <a:lnTo>
                  <a:pt x="720" y="876"/>
                </a:lnTo>
                <a:lnTo>
                  <a:pt x="726" y="876"/>
                </a:lnTo>
                <a:lnTo>
                  <a:pt x="726" y="882"/>
                </a:lnTo>
                <a:lnTo>
                  <a:pt x="732" y="882"/>
                </a:lnTo>
                <a:lnTo>
                  <a:pt x="732" y="888"/>
                </a:lnTo>
                <a:lnTo>
                  <a:pt x="738" y="888"/>
                </a:lnTo>
                <a:lnTo>
                  <a:pt x="744" y="888"/>
                </a:lnTo>
                <a:lnTo>
                  <a:pt x="750" y="888"/>
                </a:lnTo>
                <a:lnTo>
                  <a:pt x="756" y="888"/>
                </a:lnTo>
                <a:lnTo>
                  <a:pt x="762" y="888"/>
                </a:lnTo>
                <a:lnTo>
                  <a:pt x="768" y="888"/>
                </a:lnTo>
                <a:lnTo>
                  <a:pt x="768" y="882"/>
                </a:lnTo>
                <a:lnTo>
                  <a:pt x="774" y="876"/>
                </a:lnTo>
                <a:lnTo>
                  <a:pt x="780" y="876"/>
                </a:lnTo>
                <a:lnTo>
                  <a:pt x="780" y="870"/>
                </a:lnTo>
                <a:lnTo>
                  <a:pt x="786" y="876"/>
                </a:lnTo>
                <a:lnTo>
                  <a:pt x="786" y="882"/>
                </a:lnTo>
                <a:lnTo>
                  <a:pt x="792" y="888"/>
                </a:lnTo>
                <a:lnTo>
                  <a:pt x="792" y="894"/>
                </a:lnTo>
                <a:lnTo>
                  <a:pt x="792" y="900"/>
                </a:lnTo>
                <a:lnTo>
                  <a:pt x="792" y="906"/>
                </a:lnTo>
                <a:lnTo>
                  <a:pt x="786" y="906"/>
                </a:lnTo>
                <a:lnTo>
                  <a:pt x="792" y="906"/>
                </a:lnTo>
                <a:lnTo>
                  <a:pt x="792" y="912"/>
                </a:lnTo>
                <a:lnTo>
                  <a:pt x="792" y="918"/>
                </a:lnTo>
                <a:lnTo>
                  <a:pt x="798" y="918"/>
                </a:lnTo>
                <a:lnTo>
                  <a:pt x="798" y="924"/>
                </a:lnTo>
                <a:lnTo>
                  <a:pt x="792" y="924"/>
                </a:lnTo>
                <a:lnTo>
                  <a:pt x="792" y="930"/>
                </a:lnTo>
                <a:lnTo>
                  <a:pt x="792" y="936"/>
                </a:lnTo>
                <a:lnTo>
                  <a:pt x="786" y="936"/>
                </a:lnTo>
                <a:lnTo>
                  <a:pt x="786" y="942"/>
                </a:lnTo>
                <a:lnTo>
                  <a:pt x="780" y="942"/>
                </a:lnTo>
                <a:lnTo>
                  <a:pt x="780" y="948"/>
                </a:lnTo>
                <a:lnTo>
                  <a:pt x="780" y="954"/>
                </a:lnTo>
                <a:lnTo>
                  <a:pt x="786" y="948"/>
                </a:lnTo>
                <a:lnTo>
                  <a:pt x="792" y="948"/>
                </a:lnTo>
                <a:lnTo>
                  <a:pt x="798" y="948"/>
                </a:lnTo>
                <a:lnTo>
                  <a:pt x="804" y="948"/>
                </a:lnTo>
                <a:lnTo>
                  <a:pt x="810" y="948"/>
                </a:lnTo>
                <a:lnTo>
                  <a:pt x="810" y="954"/>
                </a:lnTo>
                <a:lnTo>
                  <a:pt x="816" y="954"/>
                </a:lnTo>
                <a:lnTo>
                  <a:pt x="816" y="960"/>
                </a:lnTo>
                <a:lnTo>
                  <a:pt x="822" y="960"/>
                </a:lnTo>
                <a:lnTo>
                  <a:pt x="828" y="960"/>
                </a:lnTo>
                <a:lnTo>
                  <a:pt x="834" y="966"/>
                </a:lnTo>
                <a:lnTo>
                  <a:pt x="840" y="966"/>
                </a:lnTo>
                <a:lnTo>
                  <a:pt x="840" y="960"/>
                </a:lnTo>
                <a:lnTo>
                  <a:pt x="846" y="960"/>
                </a:lnTo>
                <a:lnTo>
                  <a:pt x="846" y="954"/>
                </a:lnTo>
                <a:lnTo>
                  <a:pt x="852" y="954"/>
                </a:lnTo>
                <a:lnTo>
                  <a:pt x="852" y="948"/>
                </a:lnTo>
                <a:lnTo>
                  <a:pt x="852" y="942"/>
                </a:lnTo>
                <a:lnTo>
                  <a:pt x="858" y="942"/>
                </a:lnTo>
                <a:lnTo>
                  <a:pt x="864" y="942"/>
                </a:lnTo>
                <a:lnTo>
                  <a:pt x="870" y="942"/>
                </a:lnTo>
                <a:lnTo>
                  <a:pt x="876" y="942"/>
                </a:lnTo>
                <a:lnTo>
                  <a:pt x="882" y="942"/>
                </a:lnTo>
                <a:lnTo>
                  <a:pt x="882" y="948"/>
                </a:lnTo>
                <a:lnTo>
                  <a:pt x="888" y="948"/>
                </a:lnTo>
                <a:lnTo>
                  <a:pt x="894" y="948"/>
                </a:lnTo>
                <a:lnTo>
                  <a:pt x="900" y="954"/>
                </a:lnTo>
                <a:lnTo>
                  <a:pt x="906" y="954"/>
                </a:lnTo>
                <a:lnTo>
                  <a:pt x="900" y="954"/>
                </a:lnTo>
                <a:lnTo>
                  <a:pt x="900" y="960"/>
                </a:lnTo>
                <a:lnTo>
                  <a:pt x="894" y="960"/>
                </a:lnTo>
                <a:lnTo>
                  <a:pt x="900" y="960"/>
                </a:lnTo>
                <a:lnTo>
                  <a:pt x="900" y="966"/>
                </a:lnTo>
                <a:lnTo>
                  <a:pt x="906" y="966"/>
                </a:lnTo>
                <a:lnTo>
                  <a:pt x="912" y="966"/>
                </a:lnTo>
                <a:lnTo>
                  <a:pt x="912" y="972"/>
                </a:lnTo>
                <a:lnTo>
                  <a:pt x="918" y="972"/>
                </a:lnTo>
                <a:lnTo>
                  <a:pt x="924" y="972"/>
                </a:lnTo>
                <a:lnTo>
                  <a:pt x="924" y="978"/>
                </a:lnTo>
                <a:lnTo>
                  <a:pt x="918" y="978"/>
                </a:lnTo>
                <a:lnTo>
                  <a:pt x="918" y="984"/>
                </a:lnTo>
                <a:lnTo>
                  <a:pt x="924" y="984"/>
                </a:lnTo>
                <a:lnTo>
                  <a:pt x="930" y="984"/>
                </a:lnTo>
                <a:lnTo>
                  <a:pt x="930" y="990"/>
                </a:lnTo>
                <a:lnTo>
                  <a:pt x="930" y="996"/>
                </a:lnTo>
                <a:lnTo>
                  <a:pt x="930" y="1002"/>
                </a:lnTo>
                <a:lnTo>
                  <a:pt x="936" y="1002"/>
                </a:lnTo>
                <a:lnTo>
                  <a:pt x="936" y="1008"/>
                </a:lnTo>
                <a:lnTo>
                  <a:pt x="930" y="1008"/>
                </a:lnTo>
                <a:lnTo>
                  <a:pt x="930" y="1014"/>
                </a:lnTo>
                <a:lnTo>
                  <a:pt x="930" y="1020"/>
                </a:lnTo>
                <a:lnTo>
                  <a:pt x="936" y="1020"/>
                </a:lnTo>
                <a:lnTo>
                  <a:pt x="936" y="1026"/>
                </a:lnTo>
                <a:lnTo>
                  <a:pt x="942" y="1026"/>
                </a:lnTo>
                <a:lnTo>
                  <a:pt x="936" y="1026"/>
                </a:lnTo>
                <a:lnTo>
                  <a:pt x="936" y="1032"/>
                </a:lnTo>
                <a:lnTo>
                  <a:pt x="942" y="1032"/>
                </a:lnTo>
                <a:lnTo>
                  <a:pt x="936" y="1032"/>
                </a:lnTo>
                <a:lnTo>
                  <a:pt x="936" y="1038"/>
                </a:lnTo>
                <a:lnTo>
                  <a:pt x="930" y="1038"/>
                </a:lnTo>
                <a:lnTo>
                  <a:pt x="924" y="1038"/>
                </a:lnTo>
                <a:lnTo>
                  <a:pt x="924" y="1044"/>
                </a:lnTo>
                <a:lnTo>
                  <a:pt x="924" y="1050"/>
                </a:lnTo>
                <a:lnTo>
                  <a:pt x="924" y="1056"/>
                </a:lnTo>
                <a:lnTo>
                  <a:pt x="918" y="1056"/>
                </a:lnTo>
                <a:lnTo>
                  <a:pt x="918" y="1062"/>
                </a:lnTo>
                <a:lnTo>
                  <a:pt x="918" y="1068"/>
                </a:lnTo>
                <a:lnTo>
                  <a:pt x="924" y="1068"/>
                </a:lnTo>
                <a:lnTo>
                  <a:pt x="918" y="1074"/>
                </a:lnTo>
                <a:lnTo>
                  <a:pt x="918" y="1080"/>
                </a:lnTo>
                <a:lnTo>
                  <a:pt x="912" y="1086"/>
                </a:lnTo>
                <a:lnTo>
                  <a:pt x="912" y="1092"/>
                </a:lnTo>
                <a:lnTo>
                  <a:pt x="906" y="1092"/>
                </a:lnTo>
                <a:lnTo>
                  <a:pt x="900" y="1092"/>
                </a:lnTo>
                <a:lnTo>
                  <a:pt x="894" y="1092"/>
                </a:lnTo>
                <a:lnTo>
                  <a:pt x="894" y="1098"/>
                </a:lnTo>
                <a:lnTo>
                  <a:pt x="888" y="1104"/>
                </a:lnTo>
                <a:lnTo>
                  <a:pt x="882" y="1104"/>
                </a:lnTo>
                <a:lnTo>
                  <a:pt x="882" y="1110"/>
                </a:lnTo>
                <a:lnTo>
                  <a:pt x="876" y="1110"/>
                </a:lnTo>
                <a:lnTo>
                  <a:pt x="876" y="1116"/>
                </a:lnTo>
                <a:lnTo>
                  <a:pt x="882" y="1116"/>
                </a:lnTo>
                <a:lnTo>
                  <a:pt x="882" y="1122"/>
                </a:lnTo>
                <a:lnTo>
                  <a:pt x="882" y="1128"/>
                </a:lnTo>
                <a:lnTo>
                  <a:pt x="876" y="1128"/>
                </a:lnTo>
                <a:lnTo>
                  <a:pt x="876" y="1122"/>
                </a:lnTo>
                <a:lnTo>
                  <a:pt x="876" y="1116"/>
                </a:lnTo>
                <a:lnTo>
                  <a:pt x="870" y="1116"/>
                </a:lnTo>
                <a:lnTo>
                  <a:pt x="870" y="1110"/>
                </a:lnTo>
                <a:lnTo>
                  <a:pt x="864" y="1110"/>
                </a:lnTo>
                <a:lnTo>
                  <a:pt x="858" y="1110"/>
                </a:lnTo>
                <a:lnTo>
                  <a:pt x="858" y="1104"/>
                </a:lnTo>
                <a:lnTo>
                  <a:pt x="852" y="1104"/>
                </a:lnTo>
                <a:lnTo>
                  <a:pt x="852" y="1098"/>
                </a:lnTo>
                <a:lnTo>
                  <a:pt x="852" y="1092"/>
                </a:lnTo>
                <a:lnTo>
                  <a:pt x="846" y="1092"/>
                </a:lnTo>
                <a:lnTo>
                  <a:pt x="846" y="1086"/>
                </a:lnTo>
                <a:lnTo>
                  <a:pt x="840" y="1086"/>
                </a:lnTo>
                <a:lnTo>
                  <a:pt x="840" y="1092"/>
                </a:lnTo>
                <a:lnTo>
                  <a:pt x="834" y="1086"/>
                </a:lnTo>
                <a:lnTo>
                  <a:pt x="834" y="1092"/>
                </a:lnTo>
                <a:lnTo>
                  <a:pt x="828" y="1092"/>
                </a:lnTo>
                <a:lnTo>
                  <a:pt x="828" y="1098"/>
                </a:lnTo>
                <a:lnTo>
                  <a:pt x="822" y="1098"/>
                </a:lnTo>
                <a:lnTo>
                  <a:pt x="822" y="1092"/>
                </a:lnTo>
                <a:lnTo>
                  <a:pt x="822" y="1086"/>
                </a:lnTo>
                <a:lnTo>
                  <a:pt x="822" y="1080"/>
                </a:lnTo>
                <a:lnTo>
                  <a:pt x="822" y="1074"/>
                </a:lnTo>
                <a:lnTo>
                  <a:pt x="822" y="1068"/>
                </a:lnTo>
                <a:lnTo>
                  <a:pt x="822" y="1062"/>
                </a:lnTo>
                <a:lnTo>
                  <a:pt x="828" y="1062"/>
                </a:lnTo>
                <a:lnTo>
                  <a:pt x="828" y="1056"/>
                </a:lnTo>
                <a:lnTo>
                  <a:pt x="828" y="1050"/>
                </a:lnTo>
                <a:lnTo>
                  <a:pt x="822" y="1050"/>
                </a:lnTo>
                <a:lnTo>
                  <a:pt x="822" y="1056"/>
                </a:lnTo>
                <a:lnTo>
                  <a:pt x="816" y="1056"/>
                </a:lnTo>
                <a:lnTo>
                  <a:pt x="810" y="1056"/>
                </a:lnTo>
                <a:lnTo>
                  <a:pt x="804" y="1056"/>
                </a:lnTo>
                <a:lnTo>
                  <a:pt x="804" y="1050"/>
                </a:lnTo>
                <a:lnTo>
                  <a:pt x="798" y="1050"/>
                </a:lnTo>
                <a:lnTo>
                  <a:pt x="792" y="1056"/>
                </a:lnTo>
                <a:lnTo>
                  <a:pt x="792" y="1050"/>
                </a:lnTo>
                <a:lnTo>
                  <a:pt x="786" y="1050"/>
                </a:lnTo>
                <a:lnTo>
                  <a:pt x="780" y="1050"/>
                </a:lnTo>
                <a:lnTo>
                  <a:pt x="774" y="1050"/>
                </a:lnTo>
                <a:lnTo>
                  <a:pt x="774" y="1044"/>
                </a:lnTo>
                <a:lnTo>
                  <a:pt x="774" y="1038"/>
                </a:lnTo>
                <a:lnTo>
                  <a:pt x="768" y="1038"/>
                </a:lnTo>
                <a:lnTo>
                  <a:pt x="768" y="1044"/>
                </a:lnTo>
                <a:lnTo>
                  <a:pt x="762" y="1044"/>
                </a:lnTo>
                <a:lnTo>
                  <a:pt x="762" y="1038"/>
                </a:lnTo>
                <a:lnTo>
                  <a:pt x="762" y="1044"/>
                </a:lnTo>
                <a:lnTo>
                  <a:pt x="756" y="1044"/>
                </a:lnTo>
                <a:lnTo>
                  <a:pt x="756" y="1038"/>
                </a:lnTo>
                <a:lnTo>
                  <a:pt x="756" y="1032"/>
                </a:lnTo>
                <a:lnTo>
                  <a:pt x="756" y="1026"/>
                </a:lnTo>
                <a:lnTo>
                  <a:pt x="750" y="1026"/>
                </a:lnTo>
                <a:lnTo>
                  <a:pt x="744" y="1026"/>
                </a:lnTo>
                <a:lnTo>
                  <a:pt x="738" y="1026"/>
                </a:lnTo>
                <a:lnTo>
                  <a:pt x="732" y="1026"/>
                </a:lnTo>
                <a:lnTo>
                  <a:pt x="726" y="1026"/>
                </a:lnTo>
                <a:lnTo>
                  <a:pt x="726" y="1032"/>
                </a:lnTo>
                <a:lnTo>
                  <a:pt x="720" y="1032"/>
                </a:lnTo>
                <a:lnTo>
                  <a:pt x="720" y="1038"/>
                </a:lnTo>
                <a:lnTo>
                  <a:pt x="720" y="1044"/>
                </a:lnTo>
                <a:lnTo>
                  <a:pt x="726" y="1044"/>
                </a:lnTo>
                <a:lnTo>
                  <a:pt x="732" y="1050"/>
                </a:lnTo>
                <a:lnTo>
                  <a:pt x="738" y="1044"/>
                </a:lnTo>
                <a:lnTo>
                  <a:pt x="738" y="1050"/>
                </a:lnTo>
                <a:lnTo>
                  <a:pt x="738" y="1056"/>
                </a:lnTo>
                <a:lnTo>
                  <a:pt x="732" y="1056"/>
                </a:lnTo>
                <a:lnTo>
                  <a:pt x="732" y="1050"/>
                </a:lnTo>
                <a:lnTo>
                  <a:pt x="726" y="1050"/>
                </a:lnTo>
                <a:lnTo>
                  <a:pt x="726" y="1056"/>
                </a:lnTo>
                <a:lnTo>
                  <a:pt x="720" y="1056"/>
                </a:lnTo>
                <a:lnTo>
                  <a:pt x="726" y="1062"/>
                </a:lnTo>
                <a:lnTo>
                  <a:pt x="726" y="1068"/>
                </a:lnTo>
                <a:lnTo>
                  <a:pt x="726" y="1074"/>
                </a:lnTo>
                <a:lnTo>
                  <a:pt x="720" y="1080"/>
                </a:lnTo>
                <a:lnTo>
                  <a:pt x="726" y="1080"/>
                </a:lnTo>
                <a:lnTo>
                  <a:pt x="726" y="1086"/>
                </a:lnTo>
                <a:lnTo>
                  <a:pt x="720" y="1086"/>
                </a:lnTo>
                <a:lnTo>
                  <a:pt x="720" y="1080"/>
                </a:lnTo>
                <a:lnTo>
                  <a:pt x="720" y="1086"/>
                </a:lnTo>
                <a:lnTo>
                  <a:pt x="714" y="1086"/>
                </a:lnTo>
                <a:lnTo>
                  <a:pt x="714" y="1080"/>
                </a:lnTo>
                <a:lnTo>
                  <a:pt x="708" y="1080"/>
                </a:lnTo>
                <a:lnTo>
                  <a:pt x="708" y="1086"/>
                </a:lnTo>
                <a:lnTo>
                  <a:pt x="708" y="1092"/>
                </a:lnTo>
                <a:lnTo>
                  <a:pt x="702" y="1092"/>
                </a:lnTo>
                <a:lnTo>
                  <a:pt x="696" y="1092"/>
                </a:lnTo>
                <a:lnTo>
                  <a:pt x="696" y="1086"/>
                </a:lnTo>
                <a:lnTo>
                  <a:pt x="690" y="1086"/>
                </a:lnTo>
                <a:lnTo>
                  <a:pt x="690" y="1092"/>
                </a:lnTo>
                <a:lnTo>
                  <a:pt x="690" y="1098"/>
                </a:lnTo>
                <a:lnTo>
                  <a:pt x="684" y="1098"/>
                </a:lnTo>
                <a:lnTo>
                  <a:pt x="678" y="1098"/>
                </a:lnTo>
                <a:lnTo>
                  <a:pt x="678" y="1104"/>
                </a:lnTo>
                <a:lnTo>
                  <a:pt x="678" y="1110"/>
                </a:lnTo>
                <a:lnTo>
                  <a:pt x="678" y="1116"/>
                </a:lnTo>
                <a:lnTo>
                  <a:pt x="678" y="1122"/>
                </a:lnTo>
                <a:lnTo>
                  <a:pt x="684" y="1122"/>
                </a:lnTo>
                <a:lnTo>
                  <a:pt x="678" y="1122"/>
                </a:lnTo>
                <a:lnTo>
                  <a:pt x="672" y="1122"/>
                </a:lnTo>
                <a:lnTo>
                  <a:pt x="672" y="1128"/>
                </a:lnTo>
                <a:lnTo>
                  <a:pt x="672" y="1134"/>
                </a:lnTo>
                <a:lnTo>
                  <a:pt x="666" y="1134"/>
                </a:lnTo>
                <a:lnTo>
                  <a:pt x="666" y="1140"/>
                </a:lnTo>
                <a:lnTo>
                  <a:pt x="672" y="1140"/>
                </a:lnTo>
                <a:lnTo>
                  <a:pt x="672" y="1146"/>
                </a:lnTo>
                <a:lnTo>
                  <a:pt x="678" y="1146"/>
                </a:lnTo>
                <a:lnTo>
                  <a:pt x="678" y="1152"/>
                </a:lnTo>
                <a:lnTo>
                  <a:pt x="672" y="1152"/>
                </a:lnTo>
                <a:lnTo>
                  <a:pt x="672" y="1158"/>
                </a:lnTo>
                <a:lnTo>
                  <a:pt x="666" y="1158"/>
                </a:lnTo>
                <a:lnTo>
                  <a:pt x="666" y="1164"/>
                </a:lnTo>
                <a:lnTo>
                  <a:pt x="666" y="1170"/>
                </a:lnTo>
                <a:lnTo>
                  <a:pt x="666" y="1176"/>
                </a:lnTo>
                <a:lnTo>
                  <a:pt x="666" y="1182"/>
                </a:lnTo>
                <a:lnTo>
                  <a:pt x="666" y="1188"/>
                </a:lnTo>
                <a:lnTo>
                  <a:pt x="660" y="1188"/>
                </a:lnTo>
                <a:lnTo>
                  <a:pt x="660" y="1194"/>
                </a:lnTo>
                <a:lnTo>
                  <a:pt x="666" y="1200"/>
                </a:lnTo>
                <a:lnTo>
                  <a:pt x="666" y="1206"/>
                </a:lnTo>
                <a:lnTo>
                  <a:pt x="666" y="1212"/>
                </a:lnTo>
                <a:lnTo>
                  <a:pt x="660" y="1212"/>
                </a:lnTo>
                <a:lnTo>
                  <a:pt x="654" y="1212"/>
                </a:lnTo>
                <a:lnTo>
                  <a:pt x="648" y="1218"/>
                </a:lnTo>
                <a:lnTo>
                  <a:pt x="642" y="1218"/>
                </a:lnTo>
                <a:lnTo>
                  <a:pt x="636" y="1218"/>
                </a:lnTo>
                <a:lnTo>
                  <a:pt x="636" y="1224"/>
                </a:lnTo>
                <a:lnTo>
                  <a:pt x="630" y="1224"/>
                </a:lnTo>
                <a:lnTo>
                  <a:pt x="630" y="1230"/>
                </a:lnTo>
                <a:lnTo>
                  <a:pt x="624" y="1230"/>
                </a:lnTo>
                <a:lnTo>
                  <a:pt x="624" y="1236"/>
                </a:lnTo>
                <a:lnTo>
                  <a:pt x="618" y="1236"/>
                </a:lnTo>
                <a:lnTo>
                  <a:pt x="612" y="1236"/>
                </a:lnTo>
                <a:lnTo>
                  <a:pt x="612" y="1230"/>
                </a:lnTo>
                <a:lnTo>
                  <a:pt x="612" y="1236"/>
                </a:lnTo>
                <a:lnTo>
                  <a:pt x="606" y="1236"/>
                </a:lnTo>
                <a:lnTo>
                  <a:pt x="612" y="1236"/>
                </a:lnTo>
                <a:lnTo>
                  <a:pt x="612" y="1242"/>
                </a:lnTo>
                <a:lnTo>
                  <a:pt x="612" y="1248"/>
                </a:lnTo>
                <a:lnTo>
                  <a:pt x="612" y="1254"/>
                </a:lnTo>
                <a:lnTo>
                  <a:pt x="612" y="1260"/>
                </a:lnTo>
                <a:lnTo>
                  <a:pt x="618" y="1260"/>
                </a:lnTo>
                <a:lnTo>
                  <a:pt x="618" y="1266"/>
                </a:lnTo>
                <a:lnTo>
                  <a:pt x="612" y="1266"/>
                </a:lnTo>
                <a:lnTo>
                  <a:pt x="612" y="1260"/>
                </a:lnTo>
                <a:lnTo>
                  <a:pt x="612" y="1266"/>
                </a:lnTo>
                <a:lnTo>
                  <a:pt x="606" y="1266"/>
                </a:lnTo>
                <a:lnTo>
                  <a:pt x="612" y="1266"/>
                </a:lnTo>
                <a:lnTo>
                  <a:pt x="606" y="1266"/>
                </a:lnTo>
                <a:lnTo>
                  <a:pt x="600" y="1266"/>
                </a:lnTo>
                <a:lnTo>
                  <a:pt x="600" y="1272"/>
                </a:lnTo>
                <a:lnTo>
                  <a:pt x="594" y="1278"/>
                </a:lnTo>
                <a:lnTo>
                  <a:pt x="594" y="1284"/>
                </a:lnTo>
                <a:lnTo>
                  <a:pt x="594" y="1290"/>
                </a:lnTo>
                <a:lnTo>
                  <a:pt x="594" y="1296"/>
                </a:lnTo>
                <a:lnTo>
                  <a:pt x="588" y="1296"/>
                </a:lnTo>
                <a:lnTo>
                  <a:pt x="588" y="1302"/>
                </a:lnTo>
                <a:lnTo>
                  <a:pt x="582" y="1302"/>
                </a:lnTo>
                <a:lnTo>
                  <a:pt x="582" y="1296"/>
                </a:lnTo>
                <a:lnTo>
                  <a:pt x="576" y="1302"/>
                </a:lnTo>
                <a:lnTo>
                  <a:pt x="576" y="1308"/>
                </a:lnTo>
                <a:lnTo>
                  <a:pt x="570" y="1308"/>
                </a:lnTo>
                <a:lnTo>
                  <a:pt x="570" y="1314"/>
                </a:lnTo>
                <a:lnTo>
                  <a:pt x="570" y="1320"/>
                </a:lnTo>
                <a:lnTo>
                  <a:pt x="564" y="1320"/>
                </a:lnTo>
                <a:lnTo>
                  <a:pt x="564" y="1326"/>
                </a:lnTo>
                <a:lnTo>
                  <a:pt x="558" y="1320"/>
                </a:lnTo>
                <a:lnTo>
                  <a:pt x="558" y="1326"/>
                </a:lnTo>
                <a:lnTo>
                  <a:pt x="552" y="1326"/>
                </a:lnTo>
                <a:lnTo>
                  <a:pt x="552" y="1320"/>
                </a:lnTo>
                <a:lnTo>
                  <a:pt x="552" y="1314"/>
                </a:lnTo>
                <a:lnTo>
                  <a:pt x="558" y="1314"/>
                </a:lnTo>
                <a:lnTo>
                  <a:pt x="558" y="1308"/>
                </a:lnTo>
                <a:lnTo>
                  <a:pt x="558" y="1302"/>
                </a:lnTo>
                <a:lnTo>
                  <a:pt x="552" y="1302"/>
                </a:lnTo>
                <a:lnTo>
                  <a:pt x="546" y="1296"/>
                </a:lnTo>
                <a:lnTo>
                  <a:pt x="540" y="1290"/>
                </a:lnTo>
                <a:lnTo>
                  <a:pt x="534" y="1284"/>
                </a:lnTo>
                <a:lnTo>
                  <a:pt x="528" y="1278"/>
                </a:lnTo>
                <a:lnTo>
                  <a:pt x="522" y="1278"/>
                </a:lnTo>
                <a:lnTo>
                  <a:pt x="522" y="1272"/>
                </a:lnTo>
                <a:lnTo>
                  <a:pt x="516" y="1272"/>
                </a:lnTo>
                <a:lnTo>
                  <a:pt x="510" y="1272"/>
                </a:lnTo>
                <a:lnTo>
                  <a:pt x="510" y="1266"/>
                </a:lnTo>
                <a:lnTo>
                  <a:pt x="504" y="1266"/>
                </a:lnTo>
                <a:lnTo>
                  <a:pt x="504" y="1272"/>
                </a:lnTo>
                <a:lnTo>
                  <a:pt x="504" y="1278"/>
                </a:lnTo>
                <a:lnTo>
                  <a:pt x="498" y="1278"/>
                </a:lnTo>
                <a:lnTo>
                  <a:pt x="498" y="1272"/>
                </a:lnTo>
                <a:lnTo>
                  <a:pt x="492" y="1272"/>
                </a:lnTo>
                <a:lnTo>
                  <a:pt x="492" y="1266"/>
                </a:lnTo>
                <a:lnTo>
                  <a:pt x="486" y="1266"/>
                </a:lnTo>
                <a:lnTo>
                  <a:pt x="480" y="1266"/>
                </a:lnTo>
                <a:lnTo>
                  <a:pt x="480" y="1272"/>
                </a:lnTo>
                <a:lnTo>
                  <a:pt x="474" y="1272"/>
                </a:lnTo>
                <a:lnTo>
                  <a:pt x="468" y="1272"/>
                </a:lnTo>
                <a:lnTo>
                  <a:pt x="462" y="1272"/>
                </a:lnTo>
                <a:lnTo>
                  <a:pt x="462" y="1266"/>
                </a:lnTo>
                <a:lnTo>
                  <a:pt x="456" y="1266"/>
                </a:lnTo>
                <a:lnTo>
                  <a:pt x="456" y="1272"/>
                </a:lnTo>
                <a:lnTo>
                  <a:pt x="456" y="1278"/>
                </a:lnTo>
                <a:lnTo>
                  <a:pt x="456" y="1284"/>
                </a:lnTo>
                <a:lnTo>
                  <a:pt x="450" y="1284"/>
                </a:lnTo>
                <a:lnTo>
                  <a:pt x="450" y="1290"/>
                </a:lnTo>
                <a:lnTo>
                  <a:pt x="450" y="1296"/>
                </a:lnTo>
                <a:lnTo>
                  <a:pt x="450" y="1302"/>
                </a:lnTo>
                <a:lnTo>
                  <a:pt x="450" y="1308"/>
                </a:lnTo>
                <a:lnTo>
                  <a:pt x="456" y="1308"/>
                </a:lnTo>
                <a:lnTo>
                  <a:pt x="456" y="1302"/>
                </a:lnTo>
                <a:lnTo>
                  <a:pt x="456" y="1308"/>
                </a:lnTo>
                <a:lnTo>
                  <a:pt x="456" y="1314"/>
                </a:lnTo>
                <a:lnTo>
                  <a:pt x="450" y="1314"/>
                </a:lnTo>
                <a:lnTo>
                  <a:pt x="444" y="1314"/>
                </a:lnTo>
                <a:lnTo>
                  <a:pt x="438" y="1314"/>
                </a:lnTo>
                <a:lnTo>
                  <a:pt x="432" y="1320"/>
                </a:lnTo>
                <a:lnTo>
                  <a:pt x="432" y="1326"/>
                </a:lnTo>
                <a:lnTo>
                  <a:pt x="432" y="1332"/>
                </a:lnTo>
                <a:lnTo>
                  <a:pt x="438" y="1332"/>
                </a:lnTo>
                <a:lnTo>
                  <a:pt x="438" y="1338"/>
                </a:lnTo>
                <a:lnTo>
                  <a:pt x="438" y="1344"/>
                </a:lnTo>
                <a:lnTo>
                  <a:pt x="432" y="1344"/>
                </a:lnTo>
                <a:lnTo>
                  <a:pt x="432" y="1350"/>
                </a:lnTo>
                <a:lnTo>
                  <a:pt x="438" y="1356"/>
                </a:lnTo>
                <a:lnTo>
                  <a:pt x="432" y="1356"/>
                </a:lnTo>
                <a:lnTo>
                  <a:pt x="426" y="1356"/>
                </a:lnTo>
                <a:lnTo>
                  <a:pt x="420" y="1356"/>
                </a:lnTo>
                <a:lnTo>
                  <a:pt x="420" y="1350"/>
                </a:lnTo>
                <a:lnTo>
                  <a:pt x="414" y="1350"/>
                </a:lnTo>
                <a:lnTo>
                  <a:pt x="408" y="1350"/>
                </a:lnTo>
                <a:lnTo>
                  <a:pt x="408" y="1344"/>
                </a:lnTo>
                <a:lnTo>
                  <a:pt x="408" y="1338"/>
                </a:lnTo>
                <a:lnTo>
                  <a:pt x="402" y="1338"/>
                </a:lnTo>
                <a:lnTo>
                  <a:pt x="396" y="1338"/>
                </a:lnTo>
                <a:lnTo>
                  <a:pt x="390" y="1338"/>
                </a:lnTo>
                <a:lnTo>
                  <a:pt x="384" y="1338"/>
                </a:lnTo>
                <a:lnTo>
                  <a:pt x="384" y="1344"/>
                </a:lnTo>
                <a:lnTo>
                  <a:pt x="378" y="1344"/>
                </a:lnTo>
                <a:lnTo>
                  <a:pt x="378" y="1338"/>
                </a:lnTo>
                <a:lnTo>
                  <a:pt x="372" y="1338"/>
                </a:lnTo>
                <a:lnTo>
                  <a:pt x="372" y="1332"/>
                </a:lnTo>
                <a:lnTo>
                  <a:pt x="372" y="1326"/>
                </a:lnTo>
                <a:lnTo>
                  <a:pt x="366" y="1326"/>
                </a:lnTo>
                <a:lnTo>
                  <a:pt x="360" y="1332"/>
                </a:lnTo>
                <a:lnTo>
                  <a:pt x="360" y="1338"/>
                </a:lnTo>
                <a:lnTo>
                  <a:pt x="354" y="1338"/>
                </a:lnTo>
                <a:lnTo>
                  <a:pt x="348" y="1344"/>
                </a:lnTo>
                <a:lnTo>
                  <a:pt x="342" y="1344"/>
                </a:lnTo>
                <a:lnTo>
                  <a:pt x="342" y="1350"/>
                </a:lnTo>
                <a:lnTo>
                  <a:pt x="336" y="1350"/>
                </a:lnTo>
                <a:lnTo>
                  <a:pt x="330" y="1350"/>
                </a:lnTo>
                <a:lnTo>
                  <a:pt x="330" y="1356"/>
                </a:lnTo>
                <a:lnTo>
                  <a:pt x="324" y="1356"/>
                </a:lnTo>
                <a:lnTo>
                  <a:pt x="318" y="1356"/>
                </a:lnTo>
                <a:lnTo>
                  <a:pt x="318" y="1362"/>
                </a:lnTo>
                <a:lnTo>
                  <a:pt x="318" y="1368"/>
                </a:lnTo>
                <a:lnTo>
                  <a:pt x="318" y="1374"/>
                </a:lnTo>
                <a:lnTo>
                  <a:pt x="318" y="1380"/>
                </a:lnTo>
                <a:lnTo>
                  <a:pt x="312" y="1380"/>
                </a:lnTo>
                <a:lnTo>
                  <a:pt x="312" y="1386"/>
                </a:lnTo>
                <a:lnTo>
                  <a:pt x="306" y="1380"/>
                </a:lnTo>
                <a:lnTo>
                  <a:pt x="300" y="1380"/>
                </a:lnTo>
                <a:lnTo>
                  <a:pt x="300" y="1386"/>
                </a:lnTo>
                <a:lnTo>
                  <a:pt x="294" y="1386"/>
                </a:lnTo>
                <a:lnTo>
                  <a:pt x="288" y="1386"/>
                </a:lnTo>
                <a:lnTo>
                  <a:pt x="288" y="1392"/>
                </a:lnTo>
                <a:lnTo>
                  <a:pt x="288" y="1398"/>
                </a:lnTo>
                <a:lnTo>
                  <a:pt x="282" y="1398"/>
                </a:lnTo>
                <a:lnTo>
                  <a:pt x="282" y="1404"/>
                </a:lnTo>
                <a:lnTo>
                  <a:pt x="288" y="1404"/>
                </a:lnTo>
                <a:lnTo>
                  <a:pt x="288" y="1410"/>
                </a:lnTo>
                <a:lnTo>
                  <a:pt x="282" y="1410"/>
                </a:lnTo>
                <a:lnTo>
                  <a:pt x="276" y="1410"/>
                </a:lnTo>
                <a:lnTo>
                  <a:pt x="270" y="1410"/>
                </a:lnTo>
                <a:lnTo>
                  <a:pt x="270" y="1404"/>
                </a:lnTo>
                <a:lnTo>
                  <a:pt x="270" y="1398"/>
                </a:lnTo>
                <a:lnTo>
                  <a:pt x="264" y="1398"/>
                </a:lnTo>
                <a:lnTo>
                  <a:pt x="264" y="1392"/>
                </a:lnTo>
                <a:lnTo>
                  <a:pt x="264" y="1386"/>
                </a:lnTo>
                <a:lnTo>
                  <a:pt x="258" y="1386"/>
                </a:lnTo>
                <a:lnTo>
                  <a:pt x="264" y="1386"/>
                </a:lnTo>
                <a:lnTo>
                  <a:pt x="264" y="1380"/>
                </a:lnTo>
                <a:lnTo>
                  <a:pt x="258" y="1374"/>
                </a:lnTo>
                <a:lnTo>
                  <a:pt x="264" y="1374"/>
                </a:lnTo>
                <a:lnTo>
                  <a:pt x="264" y="1368"/>
                </a:lnTo>
                <a:lnTo>
                  <a:pt x="258" y="1368"/>
                </a:lnTo>
                <a:lnTo>
                  <a:pt x="258" y="1362"/>
                </a:lnTo>
                <a:lnTo>
                  <a:pt x="264" y="1362"/>
                </a:lnTo>
                <a:lnTo>
                  <a:pt x="258" y="1362"/>
                </a:lnTo>
                <a:lnTo>
                  <a:pt x="258" y="1356"/>
                </a:lnTo>
                <a:lnTo>
                  <a:pt x="264" y="1356"/>
                </a:lnTo>
                <a:lnTo>
                  <a:pt x="264" y="1350"/>
                </a:lnTo>
                <a:lnTo>
                  <a:pt x="258" y="1344"/>
                </a:lnTo>
                <a:lnTo>
                  <a:pt x="258" y="1338"/>
                </a:lnTo>
                <a:lnTo>
                  <a:pt x="252" y="1338"/>
                </a:lnTo>
                <a:lnTo>
                  <a:pt x="252" y="1332"/>
                </a:lnTo>
                <a:lnTo>
                  <a:pt x="252" y="1326"/>
                </a:lnTo>
                <a:lnTo>
                  <a:pt x="246" y="1326"/>
                </a:lnTo>
                <a:lnTo>
                  <a:pt x="240" y="1326"/>
                </a:lnTo>
                <a:lnTo>
                  <a:pt x="240" y="1320"/>
                </a:lnTo>
                <a:lnTo>
                  <a:pt x="234" y="1320"/>
                </a:lnTo>
                <a:lnTo>
                  <a:pt x="228" y="1320"/>
                </a:lnTo>
                <a:lnTo>
                  <a:pt x="222" y="1320"/>
                </a:lnTo>
                <a:lnTo>
                  <a:pt x="222" y="1314"/>
                </a:lnTo>
                <a:lnTo>
                  <a:pt x="216" y="1320"/>
                </a:lnTo>
                <a:lnTo>
                  <a:pt x="210" y="1320"/>
                </a:lnTo>
                <a:lnTo>
                  <a:pt x="210" y="1314"/>
                </a:lnTo>
                <a:lnTo>
                  <a:pt x="204" y="1314"/>
                </a:lnTo>
                <a:lnTo>
                  <a:pt x="198" y="1314"/>
                </a:lnTo>
                <a:lnTo>
                  <a:pt x="192" y="1308"/>
                </a:lnTo>
                <a:lnTo>
                  <a:pt x="192" y="1302"/>
                </a:lnTo>
                <a:lnTo>
                  <a:pt x="186" y="1302"/>
                </a:lnTo>
                <a:lnTo>
                  <a:pt x="186" y="1308"/>
                </a:lnTo>
                <a:lnTo>
                  <a:pt x="186" y="1302"/>
                </a:lnTo>
                <a:lnTo>
                  <a:pt x="180" y="1302"/>
                </a:lnTo>
                <a:lnTo>
                  <a:pt x="180" y="1296"/>
                </a:lnTo>
                <a:lnTo>
                  <a:pt x="174" y="1296"/>
                </a:lnTo>
                <a:lnTo>
                  <a:pt x="168" y="1296"/>
                </a:lnTo>
                <a:lnTo>
                  <a:pt x="162" y="1296"/>
                </a:lnTo>
                <a:lnTo>
                  <a:pt x="168" y="1296"/>
                </a:lnTo>
                <a:lnTo>
                  <a:pt x="162" y="1296"/>
                </a:lnTo>
                <a:lnTo>
                  <a:pt x="156" y="1296"/>
                </a:lnTo>
                <a:lnTo>
                  <a:pt x="156" y="1290"/>
                </a:lnTo>
                <a:lnTo>
                  <a:pt x="156" y="1296"/>
                </a:lnTo>
                <a:lnTo>
                  <a:pt x="156" y="1290"/>
                </a:lnTo>
                <a:lnTo>
                  <a:pt x="150" y="1296"/>
                </a:lnTo>
                <a:lnTo>
                  <a:pt x="150" y="1290"/>
                </a:lnTo>
                <a:lnTo>
                  <a:pt x="144" y="1290"/>
                </a:lnTo>
                <a:lnTo>
                  <a:pt x="138" y="1290"/>
                </a:lnTo>
                <a:lnTo>
                  <a:pt x="138" y="1284"/>
                </a:lnTo>
                <a:lnTo>
                  <a:pt x="138" y="1278"/>
                </a:lnTo>
                <a:lnTo>
                  <a:pt x="138" y="1272"/>
                </a:lnTo>
                <a:lnTo>
                  <a:pt x="132" y="1272"/>
                </a:lnTo>
                <a:lnTo>
                  <a:pt x="132" y="1266"/>
                </a:lnTo>
                <a:lnTo>
                  <a:pt x="132" y="1260"/>
                </a:lnTo>
                <a:lnTo>
                  <a:pt x="132" y="1254"/>
                </a:lnTo>
                <a:lnTo>
                  <a:pt x="138" y="1254"/>
                </a:lnTo>
                <a:lnTo>
                  <a:pt x="138" y="1248"/>
                </a:lnTo>
                <a:lnTo>
                  <a:pt x="138" y="1242"/>
                </a:lnTo>
                <a:lnTo>
                  <a:pt x="144" y="1242"/>
                </a:lnTo>
                <a:lnTo>
                  <a:pt x="144" y="1236"/>
                </a:lnTo>
                <a:lnTo>
                  <a:pt x="150" y="1236"/>
                </a:lnTo>
                <a:lnTo>
                  <a:pt x="150" y="1230"/>
                </a:lnTo>
                <a:lnTo>
                  <a:pt x="156" y="1230"/>
                </a:lnTo>
                <a:lnTo>
                  <a:pt x="156" y="1224"/>
                </a:lnTo>
                <a:lnTo>
                  <a:pt x="150" y="1218"/>
                </a:lnTo>
                <a:lnTo>
                  <a:pt x="150" y="1212"/>
                </a:lnTo>
                <a:lnTo>
                  <a:pt x="144" y="1212"/>
                </a:lnTo>
                <a:lnTo>
                  <a:pt x="150" y="1212"/>
                </a:lnTo>
                <a:lnTo>
                  <a:pt x="150" y="1206"/>
                </a:lnTo>
                <a:lnTo>
                  <a:pt x="150" y="1200"/>
                </a:lnTo>
                <a:lnTo>
                  <a:pt x="144" y="1200"/>
                </a:lnTo>
                <a:lnTo>
                  <a:pt x="150" y="1200"/>
                </a:lnTo>
                <a:lnTo>
                  <a:pt x="150" y="1194"/>
                </a:lnTo>
                <a:lnTo>
                  <a:pt x="144" y="1194"/>
                </a:lnTo>
                <a:lnTo>
                  <a:pt x="144" y="1188"/>
                </a:lnTo>
                <a:lnTo>
                  <a:pt x="150" y="1188"/>
                </a:lnTo>
                <a:lnTo>
                  <a:pt x="150" y="1182"/>
                </a:lnTo>
                <a:lnTo>
                  <a:pt x="144" y="1182"/>
                </a:lnTo>
                <a:lnTo>
                  <a:pt x="144" y="1176"/>
                </a:lnTo>
                <a:lnTo>
                  <a:pt x="138" y="1176"/>
                </a:lnTo>
                <a:lnTo>
                  <a:pt x="138" y="1170"/>
                </a:lnTo>
                <a:lnTo>
                  <a:pt x="138" y="1164"/>
                </a:lnTo>
                <a:lnTo>
                  <a:pt x="132" y="1164"/>
                </a:lnTo>
                <a:lnTo>
                  <a:pt x="126" y="1164"/>
                </a:lnTo>
                <a:lnTo>
                  <a:pt x="126" y="1158"/>
                </a:lnTo>
                <a:lnTo>
                  <a:pt x="120" y="1158"/>
                </a:lnTo>
                <a:lnTo>
                  <a:pt x="120" y="1152"/>
                </a:lnTo>
                <a:lnTo>
                  <a:pt x="114" y="1152"/>
                </a:lnTo>
                <a:lnTo>
                  <a:pt x="114" y="1146"/>
                </a:lnTo>
                <a:lnTo>
                  <a:pt x="108" y="1146"/>
                </a:lnTo>
                <a:lnTo>
                  <a:pt x="108" y="1140"/>
                </a:lnTo>
                <a:lnTo>
                  <a:pt x="102" y="1140"/>
                </a:lnTo>
                <a:lnTo>
                  <a:pt x="102" y="1134"/>
                </a:lnTo>
                <a:lnTo>
                  <a:pt x="96" y="1134"/>
                </a:lnTo>
                <a:lnTo>
                  <a:pt x="96" y="1128"/>
                </a:lnTo>
                <a:lnTo>
                  <a:pt x="96" y="1122"/>
                </a:lnTo>
                <a:lnTo>
                  <a:pt x="96" y="1116"/>
                </a:lnTo>
                <a:lnTo>
                  <a:pt x="96" y="1110"/>
                </a:lnTo>
                <a:lnTo>
                  <a:pt x="90" y="1110"/>
                </a:lnTo>
                <a:lnTo>
                  <a:pt x="90" y="1104"/>
                </a:lnTo>
                <a:lnTo>
                  <a:pt x="90" y="1098"/>
                </a:lnTo>
                <a:lnTo>
                  <a:pt x="90" y="1092"/>
                </a:lnTo>
                <a:lnTo>
                  <a:pt x="90" y="1086"/>
                </a:lnTo>
                <a:lnTo>
                  <a:pt x="84" y="1086"/>
                </a:lnTo>
                <a:lnTo>
                  <a:pt x="84" y="1080"/>
                </a:lnTo>
                <a:lnTo>
                  <a:pt x="78" y="1080"/>
                </a:lnTo>
                <a:lnTo>
                  <a:pt x="72" y="1080"/>
                </a:lnTo>
                <a:lnTo>
                  <a:pt x="66" y="1080"/>
                </a:lnTo>
                <a:lnTo>
                  <a:pt x="66" y="1074"/>
                </a:lnTo>
                <a:lnTo>
                  <a:pt x="66" y="1068"/>
                </a:lnTo>
                <a:lnTo>
                  <a:pt x="60" y="1068"/>
                </a:lnTo>
                <a:lnTo>
                  <a:pt x="60" y="1062"/>
                </a:lnTo>
                <a:lnTo>
                  <a:pt x="60" y="1056"/>
                </a:lnTo>
                <a:lnTo>
                  <a:pt x="54" y="1050"/>
                </a:lnTo>
                <a:lnTo>
                  <a:pt x="60" y="1050"/>
                </a:lnTo>
                <a:lnTo>
                  <a:pt x="66" y="1050"/>
                </a:lnTo>
                <a:lnTo>
                  <a:pt x="66" y="1044"/>
                </a:lnTo>
                <a:lnTo>
                  <a:pt x="66" y="1038"/>
                </a:lnTo>
                <a:lnTo>
                  <a:pt x="72" y="1038"/>
                </a:lnTo>
                <a:lnTo>
                  <a:pt x="72" y="1032"/>
                </a:lnTo>
                <a:lnTo>
                  <a:pt x="78" y="1032"/>
                </a:lnTo>
                <a:lnTo>
                  <a:pt x="78" y="1026"/>
                </a:lnTo>
                <a:lnTo>
                  <a:pt x="84" y="1026"/>
                </a:lnTo>
                <a:lnTo>
                  <a:pt x="84" y="1020"/>
                </a:lnTo>
                <a:lnTo>
                  <a:pt x="84" y="1014"/>
                </a:lnTo>
                <a:lnTo>
                  <a:pt x="90" y="1014"/>
                </a:lnTo>
                <a:lnTo>
                  <a:pt x="90" y="1008"/>
                </a:lnTo>
                <a:lnTo>
                  <a:pt x="96" y="1008"/>
                </a:lnTo>
                <a:lnTo>
                  <a:pt x="96" y="1002"/>
                </a:lnTo>
                <a:lnTo>
                  <a:pt x="102" y="1002"/>
                </a:lnTo>
                <a:lnTo>
                  <a:pt x="102" y="996"/>
                </a:lnTo>
                <a:lnTo>
                  <a:pt x="102" y="990"/>
                </a:lnTo>
                <a:lnTo>
                  <a:pt x="108" y="990"/>
                </a:lnTo>
                <a:lnTo>
                  <a:pt x="108" y="984"/>
                </a:lnTo>
                <a:lnTo>
                  <a:pt x="108" y="978"/>
                </a:lnTo>
                <a:lnTo>
                  <a:pt x="108" y="972"/>
                </a:lnTo>
                <a:lnTo>
                  <a:pt x="114" y="972"/>
                </a:lnTo>
                <a:lnTo>
                  <a:pt x="114" y="966"/>
                </a:lnTo>
                <a:lnTo>
                  <a:pt x="114" y="960"/>
                </a:lnTo>
                <a:lnTo>
                  <a:pt x="114" y="954"/>
                </a:lnTo>
                <a:lnTo>
                  <a:pt x="108" y="954"/>
                </a:lnTo>
                <a:lnTo>
                  <a:pt x="108" y="948"/>
                </a:lnTo>
                <a:lnTo>
                  <a:pt x="108" y="942"/>
                </a:lnTo>
                <a:lnTo>
                  <a:pt x="108" y="936"/>
                </a:lnTo>
                <a:lnTo>
                  <a:pt x="114" y="936"/>
                </a:lnTo>
                <a:lnTo>
                  <a:pt x="108" y="930"/>
                </a:lnTo>
                <a:lnTo>
                  <a:pt x="114" y="930"/>
                </a:lnTo>
                <a:lnTo>
                  <a:pt x="114" y="924"/>
                </a:lnTo>
                <a:lnTo>
                  <a:pt x="108" y="918"/>
                </a:lnTo>
                <a:lnTo>
                  <a:pt x="114" y="918"/>
                </a:lnTo>
                <a:lnTo>
                  <a:pt x="114" y="912"/>
                </a:lnTo>
                <a:lnTo>
                  <a:pt x="114" y="906"/>
                </a:lnTo>
                <a:lnTo>
                  <a:pt x="120" y="906"/>
                </a:lnTo>
                <a:lnTo>
                  <a:pt x="120" y="900"/>
                </a:lnTo>
                <a:lnTo>
                  <a:pt x="120" y="894"/>
                </a:lnTo>
                <a:lnTo>
                  <a:pt x="126" y="894"/>
                </a:lnTo>
                <a:lnTo>
                  <a:pt x="120" y="888"/>
                </a:lnTo>
                <a:lnTo>
                  <a:pt x="126" y="888"/>
                </a:lnTo>
                <a:lnTo>
                  <a:pt x="126" y="882"/>
                </a:lnTo>
                <a:lnTo>
                  <a:pt x="120" y="882"/>
                </a:lnTo>
                <a:lnTo>
                  <a:pt x="120" y="876"/>
                </a:lnTo>
                <a:lnTo>
                  <a:pt x="126" y="876"/>
                </a:lnTo>
                <a:lnTo>
                  <a:pt x="126" y="870"/>
                </a:lnTo>
                <a:lnTo>
                  <a:pt x="126" y="864"/>
                </a:lnTo>
                <a:lnTo>
                  <a:pt x="120" y="864"/>
                </a:lnTo>
                <a:lnTo>
                  <a:pt x="120" y="858"/>
                </a:lnTo>
                <a:lnTo>
                  <a:pt x="120" y="852"/>
                </a:lnTo>
                <a:lnTo>
                  <a:pt x="114" y="852"/>
                </a:lnTo>
                <a:lnTo>
                  <a:pt x="114" y="846"/>
                </a:lnTo>
                <a:lnTo>
                  <a:pt x="108" y="846"/>
                </a:lnTo>
                <a:lnTo>
                  <a:pt x="102" y="846"/>
                </a:lnTo>
                <a:lnTo>
                  <a:pt x="96" y="846"/>
                </a:lnTo>
                <a:lnTo>
                  <a:pt x="96" y="840"/>
                </a:lnTo>
                <a:lnTo>
                  <a:pt x="90" y="840"/>
                </a:lnTo>
                <a:lnTo>
                  <a:pt x="90" y="834"/>
                </a:lnTo>
                <a:lnTo>
                  <a:pt x="84" y="828"/>
                </a:lnTo>
                <a:lnTo>
                  <a:pt x="90" y="828"/>
                </a:lnTo>
                <a:lnTo>
                  <a:pt x="90" y="822"/>
                </a:lnTo>
                <a:lnTo>
                  <a:pt x="84" y="822"/>
                </a:lnTo>
                <a:lnTo>
                  <a:pt x="84" y="816"/>
                </a:lnTo>
                <a:lnTo>
                  <a:pt x="84" y="810"/>
                </a:lnTo>
                <a:lnTo>
                  <a:pt x="84" y="804"/>
                </a:lnTo>
                <a:lnTo>
                  <a:pt x="90" y="804"/>
                </a:lnTo>
                <a:lnTo>
                  <a:pt x="90" y="798"/>
                </a:lnTo>
                <a:lnTo>
                  <a:pt x="96" y="792"/>
                </a:lnTo>
                <a:lnTo>
                  <a:pt x="96" y="786"/>
                </a:lnTo>
                <a:lnTo>
                  <a:pt x="96" y="780"/>
                </a:lnTo>
                <a:lnTo>
                  <a:pt x="90" y="780"/>
                </a:lnTo>
                <a:lnTo>
                  <a:pt x="90" y="774"/>
                </a:lnTo>
                <a:lnTo>
                  <a:pt x="84" y="774"/>
                </a:lnTo>
                <a:lnTo>
                  <a:pt x="84" y="768"/>
                </a:lnTo>
                <a:lnTo>
                  <a:pt x="90" y="762"/>
                </a:lnTo>
                <a:lnTo>
                  <a:pt x="96" y="756"/>
                </a:lnTo>
                <a:lnTo>
                  <a:pt x="96" y="750"/>
                </a:lnTo>
                <a:lnTo>
                  <a:pt x="96" y="744"/>
                </a:lnTo>
                <a:lnTo>
                  <a:pt x="96" y="738"/>
                </a:lnTo>
                <a:lnTo>
                  <a:pt x="96" y="732"/>
                </a:lnTo>
                <a:lnTo>
                  <a:pt x="90" y="732"/>
                </a:lnTo>
                <a:lnTo>
                  <a:pt x="90" y="726"/>
                </a:lnTo>
                <a:lnTo>
                  <a:pt x="90" y="720"/>
                </a:lnTo>
                <a:lnTo>
                  <a:pt x="84" y="720"/>
                </a:lnTo>
                <a:lnTo>
                  <a:pt x="78" y="720"/>
                </a:lnTo>
                <a:lnTo>
                  <a:pt x="72" y="720"/>
                </a:lnTo>
                <a:lnTo>
                  <a:pt x="72" y="714"/>
                </a:lnTo>
                <a:lnTo>
                  <a:pt x="66" y="714"/>
                </a:lnTo>
                <a:lnTo>
                  <a:pt x="66" y="720"/>
                </a:lnTo>
                <a:lnTo>
                  <a:pt x="60" y="720"/>
                </a:lnTo>
                <a:lnTo>
                  <a:pt x="60" y="714"/>
                </a:lnTo>
                <a:lnTo>
                  <a:pt x="54" y="714"/>
                </a:lnTo>
                <a:lnTo>
                  <a:pt x="48" y="714"/>
                </a:lnTo>
                <a:lnTo>
                  <a:pt x="48" y="708"/>
                </a:lnTo>
                <a:lnTo>
                  <a:pt x="42" y="714"/>
                </a:lnTo>
                <a:lnTo>
                  <a:pt x="42" y="708"/>
                </a:lnTo>
                <a:lnTo>
                  <a:pt x="36" y="708"/>
                </a:lnTo>
                <a:lnTo>
                  <a:pt x="36" y="702"/>
                </a:lnTo>
                <a:lnTo>
                  <a:pt x="30" y="702"/>
                </a:lnTo>
                <a:lnTo>
                  <a:pt x="30" y="696"/>
                </a:lnTo>
                <a:lnTo>
                  <a:pt x="24" y="696"/>
                </a:lnTo>
                <a:lnTo>
                  <a:pt x="30" y="690"/>
                </a:lnTo>
                <a:lnTo>
                  <a:pt x="30" y="684"/>
                </a:lnTo>
                <a:lnTo>
                  <a:pt x="30" y="678"/>
                </a:lnTo>
                <a:lnTo>
                  <a:pt x="24" y="672"/>
                </a:lnTo>
                <a:lnTo>
                  <a:pt x="18" y="672"/>
                </a:lnTo>
                <a:lnTo>
                  <a:pt x="18" y="666"/>
                </a:lnTo>
                <a:lnTo>
                  <a:pt x="18" y="660"/>
                </a:lnTo>
                <a:lnTo>
                  <a:pt x="18" y="654"/>
                </a:lnTo>
                <a:lnTo>
                  <a:pt x="12" y="654"/>
                </a:lnTo>
                <a:lnTo>
                  <a:pt x="12" y="648"/>
                </a:lnTo>
                <a:lnTo>
                  <a:pt x="12" y="642"/>
                </a:lnTo>
                <a:lnTo>
                  <a:pt x="12" y="636"/>
                </a:lnTo>
                <a:lnTo>
                  <a:pt x="12" y="630"/>
                </a:lnTo>
                <a:lnTo>
                  <a:pt x="6" y="624"/>
                </a:lnTo>
                <a:lnTo>
                  <a:pt x="0" y="618"/>
                </a:lnTo>
                <a:lnTo>
                  <a:pt x="0" y="612"/>
                </a:lnTo>
                <a:lnTo>
                  <a:pt x="6" y="612"/>
                </a:lnTo>
                <a:lnTo>
                  <a:pt x="6" y="606"/>
                </a:lnTo>
                <a:lnTo>
                  <a:pt x="6" y="600"/>
                </a:lnTo>
                <a:lnTo>
                  <a:pt x="6" y="594"/>
                </a:lnTo>
                <a:lnTo>
                  <a:pt x="6" y="588"/>
                </a:lnTo>
                <a:lnTo>
                  <a:pt x="12" y="582"/>
                </a:lnTo>
                <a:lnTo>
                  <a:pt x="18" y="582"/>
                </a:lnTo>
                <a:lnTo>
                  <a:pt x="24" y="576"/>
                </a:lnTo>
                <a:lnTo>
                  <a:pt x="24" y="570"/>
                </a:lnTo>
                <a:lnTo>
                  <a:pt x="30" y="570"/>
                </a:lnTo>
                <a:lnTo>
                  <a:pt x="30" y="564"/>
                </a:lnTo>
                <a:lnTo>
                  <a:pt x="36" y="564"/>
                </a:lnTo>
                <a:lnTo>
                  <a:pt x="36" y="558"/>
                </a:lnTo>
                <a:lnTo>
                  <a:pt x="36" y="552"/>
                </a:lnTo>
                <a:lnTo>
                  <a:pt x="36" y="546"/>
                </a:lnTo>
                <a:lnTo>
                  <a:pt x="42" y="546"/>
                </a:lnTo>
                <a:lnTo>
                  <a:pt x="42" y="540"/>
                </a:lnTo>
                <a:lnTo>
                  <a:pt x="48" y="534"/>
                </a:lnTo>
                <a:lnTo>
                  <a:pt x="42" y="534"/>
                </a:lnTo>
                <a:lnTo>
                  <a:pt x="42" y="528"/>
                </a:lnTo>
                <a:lnTo>
                  <a:pt x="36" y="528"/>
                </a:lnTo>
                <a:lnTo>
                  <a:pt x="36" y="522"/>
                </a:lnTo>
                <a:lnTo>
                  <a:pt x="30" y="522"/>
                </a:lnTo>
                <a:lnTo>
                  <a:pt x="30" y="516"/>
                </a:lnTo>
                <a:lnTo>
                  <a:pt x="30" y="510"/>
                </a:lnTo>
                <a:lnTo>
                  <a:pt x="30" y="504"/>
                </a:lnTo>
                <a:lnTo>
                  <a:pt x="30" y="498"/>
                </a:lnTo>
                <a:lnTo>
                  <a:pt x="30" y="492"/>
                </a:lnTo>
                <a:lnTo>
                  <a:pt x="36" y="492"/>
                </a:lnTo>
                <a:lnTo>
                  <a:pt x="36" y="486"/>
                </a:lnTo>
                <a:lnTo>
                  <a:pt x="42" y="480"/>
                </a:lnTo>
                <a:lnTo>
                  <a:pt x="42" y="474"/>
                </a:lnTo>
                <a:lnTo>
                  <a:pt x="36" y="468"/>
                </a:lnTo>
                <a:lnTo>
                  <a:pt x="30" y="468"/>
                </a:lnTo>
                <a:lnTo>
                  <a:pt x="30" y="462"/>
                </a:lnTo>
                <a:lnTo>
                  <a:pt x="30" y="456"/>
                </a:lnTo>
                <a:lnTo>
                  <a:pt x="24" y="456"/>
                </a:lnTo>
                <a:lnTo>
                  <a:pt x="24" y="450"/>
                </a:lnTo>
                <a:lnTo>
                  <a:pt x="24" y="444"/>
                </a:lnTo>
                <a:lnTo>
                  <a:pt x="18" y="444"/>
                </a:lnTo>
                <a:lnTo>
                  <a:pt x="18" y="438"/>
                </a:lnTo>
                <a:lnTo>
                  <a:pt x="18" y="432"/>
                </a:lnTo>
                <a:lnTo>
                  <a:pt x="12" y="432"/>
                </a:lnTo>
                <a:lnTo>
                  <a:pt x="12" y="426"/>
                </a:lnTo>
                <a:lnTo>
                  <a:pt x="12" y="420"/>
                </a:lnTo>
                <a:lnTo>
                  <a:pt x="18" y="420"/>
                </a:lnTo>
                <a:lnTo>
                  <a:pt x="18" y="414"/>
                </a:lnTo>
                <a:lnTo>
                  <a:pt x="24" y="414"/>
                </a:lnTo>
                <a:lnTo>
                  <a:pt x="24" y="408"/>
                </a:lnTo>
                <a:lnTo>
                  <a:pt x="30" y="408"/>
                </a:lnTo>
                <a:lnTo>
                  <a:pt x="30" y="402"/>
                </a:lnTo>
                <a:lnTo>
                  <a:pt x="36" y="402"/>
                </a:lnTo>
                <a:lnTo>
                  <a:pt x="42" y="402"/>
                </a:lnTo>
                <a:lnTo>
                  <a:pt x="42" y="408"/>
                </a:lnTo>
                <a:lnTo>
                  <a:pt x="48" y="408"/>
                </a:lnTo>
                <a:lnTo>
                  <a:pt x="54" y="414"/>
                </a:lnTo>
                <a:lnTo>
                  <a:pt x="54" y="420"/>
                </a:lnTo>
                <a:lnTo>
                  <a:pt x="60" y="420"/>
                </a:lnTo>
                <a:lnTo>
                  <a:pt x="66" y="420"/>
                </a:lnTo>
                <a:lnTo>
                  <a:pt x="72" y="420"/>
                </a:lnTo>
                <a:lnTo>
                  <a:pt x="78" y="420"/>
                </a:lnTo>
                <a:lnTo>
                  <a:pt x="78" y="414"/>
                </a:lnTo>
                <a:lnTo>
                  <a:pt x="84" y="414"/>
                </a:lnTo>
                <a:lnTo>
                  <a:pt x="84" y="408"/>
                </a:lnTo>
                <a:lnTo>
                  <a:pt x="84" y="402"/>
                </a:lnTo>
                <a:lnTo>
                  <a:pt x="84" y="396"/>
                </a:lnTo>
                <a:lnTo>
                  <a:pt x="84" y="390"/>
                </a:lnTo>
                <a:lnTo>
                  <a:pt x="90" y="390"/>
                </a:lnTo>
                <a:lnTo>
                  <a:pt x="96" y="390"/>
                </a:lnTo>
                <a:lnTo>
                  <a:pt x="102" y="384"/>
                </a:lnTo>
                <a:lnTo>
                  <a:pt x="102" y="378"/>
                </a:lnTo>
                <a:lnTo>
                  <a:pt x="102" y="372"/>
                </a:lnTo>
                <a:lnTo>
                  <a:pt x="102" y="366"/>
                </a:lnTo>
                <a:lnTo>
                  <a:pt x="102" y="360"/>
                </a:lnTo>
                <a:lnTo>
                  <a:pt x="108" y="360"/>
                </a:lnTo>
                <a:lnTo>
                  <a:pt x="108" y="354"/>
                </a:lnTo>
                <a:lnTo>
                  <a:pt x="108" y="348"/>
                </a:lnTo>
                <a:lnTo>
                  <a:pt x="108" y="342"/>
                </a:lnTo>
                <a:lnTo>
                  <a:pt x="108" y="336"/>
                </a:lnTo>
                <a:lnTo>
                  <a:pt x="108" y="330"/>
                </a:lnTo>
                <a:lnTo>
                  <a:pt x="102" y="330"/>
                </a:lnTo>
                <a:lnTo>
                  <a:pt x="102" y="324"/>
                </a:lnTo>
                <a:lnTo>
                  <a:pt x="102" y="318"/>
                </a:lnTo>
                <a:lnTo>
                  <a:pt x="108" y="318"/>
                </a:lnTo>
                <a:lnTo>
                  <a:pt x="108" y="312"/>
                </a:lnTo>
                <a:lnTo>
                  <a:pt x="114" y="312"/>
                </a:lnTo>
                <a:lnTo>
                  <a:pt x="114" y="306"/>
                </a:lnTo>
                <a:lnTo>
                  <a:pt x="120" y="306"/>
                </a:lnTo>
                <a:lnTo>
                  <a:pt x="126" y="306"/>
                </a:lnTo>
                <a:lnTo>
                  <a:pt x="126" y="300"/>
                </a:lnTo>
                <a:lnTo>
                  <a:pt x="132" y="300"/>
                </a:lnTo>
                <a:lnTo>
                  <a:pt x="132" y="294"/>
                </a:lnTo>
                <a:lnTo>
                  <a:pt x="132" y="288"/>
                </a:lnTo>
                <a:lnTo>
                  <a:pt x="126" y="282"/>
                </a:lnTo>
                <a:lnTo>
                  <a:pt x="126" y="276"/>
                </a:lnTo>
                <a:lnTo>
                  <a:pt x="126" y="270"/>
                </a:lnTo>
                <a:lnTo>
                  <a:pt x="132" y="270"/>
                </a:lnTo>
                <a:lnTo>
                  <a:pt x="132" y="264"/>
                </a:lnTo>
                <a:lnTo>
                  <a:pt x="138" y="258"/>
                </a:lnTo>
                <a:lnTo>
                  <a:pt x="132" y="258"/>
                </a:lnTo>
                <a:lnTo>
                  <a:pt x="132" y="252"/>
                </a:lnTo>
                <a:lnTo>
                  <a:pt x="138" y="252"/>
                </a:lnTo>
                <a:lnTo>
                  <a:pt x="138" y="246"/>
                </a:lnTo>
                <a:lnTo>
                  <a:pt x="144" y="252"/>
                </a:lnTo>
                <a:lnTo>
                  <a:pt x="150" y="252"/>
                </a:lnTo>
                <a:lnTo>
                  <a:pt x="150" y="258"/>
                </a:lnTo>
                <a:lnTo>
                  <a:pt x="156" y="252"/>
                </a:lnTo>
                <a:lnTo>
                  <a:pt x="156" y="246"/>
                </a:lnTo>
                <a:lnTo>
                  <a:pt x="150" y="246"/>
                </a:lnTo>
                <a:lnTo>
                  <a:pt x="144" y="246"/>
                </a:lnTo>
                <a:lnTo>
                  <a:pt x="144" y="240"/>
                </a:lnTo>
                <a:lnTo>
                  <a:pt x="144" y="234"/>
                </a:lnTo>
                <a:lnTo>
                  <a:pt x="144" y="228"/>
                </a:lnTo>
                <a:lnTo>
                  <a:pt x="150" y="222"/>
                </a:lnTo>
                <a:lnTo>
                  <a:pt x="156" y="222"/>
                </a:lnTo>
                <a:lnTo>
                  <a:pt x="162" y="222"/>
                </a:lnTo>
                <a:lnTo>
                  <a:pt x="168" y="222"/>
                </a:lnTo>
                <a:lnTo>
                  <a:pt x="168" y="228"/>
                </a:lnTo>
                <a:lnTo>
                  <a:pt x="174" y="228"/>
                </a:lnTo>
                <a:lnTo>
                  <a:pt x="180" y="228"/>
                </a:lnTo>
                <a:lnTo>
                  <a:pt x="180" y="234"/>
                </a:lnTo>
                <a:lnTo>
                  <a:pt x="186" y="228"/>
                </a:lnTo>
                <a:lnTo>
                  <a:pt x="186" y="234"/>
                </a:lnTo>
                <a:lnTo>
                  <a:pt x="186" y="240"/>
                </a:lnTo>
                <a:lnTo>
                  <a:pt x="192" y="240"/>
                </a:lnTo>
                <a:lnTo>
                  <a:pt x="192" y="246"/>
                </a:lnTo>
                <a:lnTo>
                  <a:pt x="198" y="246"/>
                </a:lnTo>
                <a:lnTo>
                  <a:pt x="204" y="246"/>
                </a:lnTo>
                <a:lnTo>
                  <a:pt x="204" y="240"/>
                </a:lnTo>
                <a:lnTo>
                  <a:pt x="204" y="234"/>
                </a:lnTo>
                <a:lnTo>
                  <a:pt x="210" y="234"/>
                </a:lnTo>
                <a:lnTo>
                  <a:pt x="216" y="234"/>
                </a:lnTo>
                <a:lnTo>
                  <a:pt x="216" y="240"/>
                </a:lnTo>
                <a:lnTo>
                  <a:pt x="222" y="240"/>
                </a:lnTo>
                <a:lnTo>
                  <a:pt x="222" y="246"/>
                </a:lnTo>
                <a:lnTo>
                  <a:pt x="228" y="246"/>
                </a:lnTo>
                <a:lnTo>
                  <a:pt x="228" y="252"/>
                </a:lnTo>
                <a:lnTo>
                  <a:pt x="234" y="252"/>
                </a:lnTo>
                <a:lnTo>
                  <a:pt x="240" y="252"/>
                </a:lnTo>
                <a:lnTo>
                  <a:pt x="246" y="252"/>
                </a:lnTo>
                <a:lnTo>
                  <a:pt x="246" y="246"/>
                </a:lnTo>
                <a:lnTo>
                  <a:pt x="252" y="246"/>
                </a:lnTo>
                <a:lnTo>
                  <a:pt x="258" y="246"/>
                </a:lnTo>
                <a:lnTo>
                  <a:pt x="264" y="240"/>
                </a:lnTo>
                <a:lnTo>
                  <a:pt x="270" y="240"/>
                </a:lnTo>
                <a:lnTo>
                  <a:pt x="270" y="234"/>
                </a:lnTo>
                <a:lnTo>
                  <a:pt x="276" y="234"/>
                </a:lnTo>
                <a:lnTo>
                  <a:pt x="276" y="228"/>
                </a:lnTo>
                <a:lnTo>
                  <a:pt x="282" y="228"/>
                </a:lnTo>
                <a:lnTo>
                  <a:pt x="288" y="228"/>
                </a:lnTo>
                <a:lnTo>
                  <a:pt x="294" y="222"/>
                </a:lnTo>
                <a:lnTo>
                  <a:pt x="300" y="222"/>
                </a:lnTo>
                <a:lnTo>
                  <a:pt x="312" y="216"/>
                </a:lnTo>
                <a:lnTo>
                  <a:pt x="318" y="210"/>
                </a:lnTo>
                <a:lnTo>
                  <a:pt x="324" y="204"/>
                </a:lnTo>
                <a:lnTo>
                  <a:pt x="330" y="204"/>
                </a:lnTo>
                <a:lnTo>
                  <a:pt x="336" y="204"/>
                </a:lnTo>
                <a:lnTo>
                  <a:pt x="342" y="198"/>
                </a:lnTo>
                <a:lnTo>
                  <a:pt x="348" y="198"/>
                </a:lnTo>
                <a:lnTo>
                  <a:pt x="348" y="192"/>
                </a:lnTo>
                <a:lnTo>
                  <a:pt x="342" y="192"/>
                </a:lnTo>
                <a:lnTo>
                  <a:pt x="342" y="186"/>
                </a:lnTo>
                <a:lnTo>
                  <a:pt x="342" y="180"/>
                </a:lnTo>
                <a:lnTo>
                  <a:pt x="336" y="180"/>
                </a:lnTo>
                <a:lnTo>
                  <a:pt x="336" y="174"/>
                </a:lnTo>
                <a:lnTo>
                  <a:pt x="330" y="174"/>
                </a:lnTo>
                <a:lnTo>
                  <a:pt x="330" y="168"/>
                </a:lnTo>
                <a:lnTo>
                  <a:pt x="324" y="162"/>
                </a:lnTo>
                <a:lnTo>
                  <a:pt x="324" y="156"/>
                </a:lnTo>
                <a:lnTo>
                  <a:pt x="324" y="150"/>
                </a:lnTo>
                <a:lnTo>
                  <a:pt x="330" y="150"/>
                </a:lnTo>
                <a:lnTo>
                  <a:pt x="336" y="150"/>
                </a:lnTo>
                <a:lnTo>
                  <a:pt x="342" y="156"/>
                </a:lnTo>
                <a:lnTo>
                  <a:pt x="348" y="156"/>
                </a:lnTo>
                <a:lnTo>
                  <a:pt x="354" y="156"/>
                </a:lnTo>
                <a:lnTo>
                  <a:pt x="354" y="162"/>
                </a:lnTo>
                <a:lnTo>
                  <a:pt x="360" y="162"/>
                </a:lnTo>
                <a:lnTo>
                  <a:pt x="360" y="156"/>
                </a:lnTo>
                <a:lnTo>
                  <a:pt x="366" y="156"/>
                </a:lnTo>
                <a:lnTo>
                  <a:pt x="366" y="150"/>
                </a:lnTo>
                <a:lnTo>
                  <a:pt x="372" y="144"/>
                </a:lnTo>
                <a:lnTo>
                  <a:pt x="378" y="144"/>
                </a:lnTo>
                <a:lnTo>
                  <a:pt x="372" y="144"/>
                </a:lnTo>
                <a:lnTo>
                  <a:pt x="372" y="138"/>
                </a:lnTo>
                <a:lnTo>
                  <a:pt x="378" y="138"/>
                </a:lnTo>
                <a:lnTo>
                  <a:pt x="378" y="132"/>
                </a:lnTo>
                <a:lnTo>
                  <a:pt x="384" y="132"/>
                </a:lnTo>
                <a:lnTo>
                  <a:pt x="384" y="126"/>
                </a:lnTo>
                <a:lnTo>
                  <a:pt x="390" y="126"/>
                </a:lnTo>
                <a:lnTo>
                  <a:pt x="396" y="120"/>
                </a:lnTo>
                <a:lnTo>
                  <a:pt x="402" y="120"/>
                </a:lnTo>
                <a:lnTo>
                  <a:pt x="408" y="120"/>
                </a:lnTo>
                <a:lnTo>
                  <a:pt x="408" y="114"/>
                </a:lnTo>
                <a:lnTo>
                  <a:pt x="414" y="114"/>
                </a:lnTo>
                <a:lnTo>
                  <a:pt x="420" y="114"/>
                </a:lnTo>
                <a:lnTo>
                  <a:pt x="420" y="108"/>
                </a:lnTo>
                <a:lnTo>
                  <a:pt x="426" y="108"/>
                </a:lnTo>
                <a:lnTo>
                  <a:pt x="432" y="108"/>
                </a:lnTo>
                <a:lnTo>
                  <a:pt x="438" y="108"/>
                </a:lnTo>
                <a:lnTo>
                  <a:pt x="438" y="102"/>
                </a:lnTo>
                <a:lnTo>
                  <a:pt x="444" y="102"/>
                </a:lnTo>
                <a:lnTo>
                  <a:pt x="444" y="96"/>
                </a:lnTo>
                <a:lnTo>
                  <a:pt x="450" y="96"/>
                </a:lnTo>
                <a:lnTo>
                  <a:pt x="456" y="102"/>
                </a:lnTo>
                <a:lnTo>
                  <a:pt x="456" y="108"/>
                </a:lnTo>
                <a:lnTo>
                  <a:pt x="456" y="114"/>
                </a:lnTo>
                <a:lnTo>
                  <a:pt x="462" y="114"/>
                </a:lnTo>
                <a:lnTo>
                  <a:pt x="468" y="114"/>
                </a:lnTo>
                <a:lnTo>
                  <a:pt x="468" y="120"/>
                </a:lnTo>
                <a:lnTo>
                  <a:pt x="474" y="120"/>
                </a:lnTo>
                <a:lnTo>
                  <a:pt x="480" y="120"/>
                </a:lnTo>
                <a:lnTo>
                  <a:pt x="480" y="126"/>
                </a:lnTo>
                <a:lnTo>
                  <a:pt x="480" y="120"/>
                </a:lnTo>
                <a:lnTo>
                  <a:pt x="486" y="120"/>
                </a:lnTo>
                <a:lnTo>
                  <a:pt x="492" y="120"/>
                </a:lnTo>
                <a:lnTo>
                  <a:pt x="498" y="114"/>
                </a:lnTo>
                <a:lnTo>
                  <a:pt x="504" y="108"/>
                </a:lnTo>
                <a:lnTo>
                  <a:pt x="510" y="108"/>
                </a:lnTo>
                <a:lnTo>
                  <a:pt x="516" y="102"/>
                </a:lnTo>
                <a:lnTo>
                  <a:pt x="516" y="108"/>
                </a:lnTo>
                <a:lnTo>
                  <a:pt x="522" y="108"/>
                </a:lnTo>
                <a:lnTo>
                  <a:pt x="528" y="114"/>
                </a:lnTo>
                <a:lnTo>
                  <a:pt x="534" y="114"/>
                </a:lnTo>
                <a:lnTo>
                  <a:pt x="534" y="108"/>
                </a:lnTo>
                <a:lnTo>
                  <a:pt x="540" y="108"/>
                </a:lnTo>
                <a:lnTo>
                  <a:pt x="540" y="102"/>
                </a:lnTo>
                <a:lnTo>
                  <a:pt x="546" y="102"/>
                </a:lnTo>
                <a:lnTo>
                  <a:pt x="552" y="102"/>
                </a:lnTo>
                <a:lnTo>
                  <a:pt x="552" y="96"/>
                </a:lnTo>
                <a:lnTo>
                  <a:pt x="552" y="90"/>
                </a:lnTo>
                <a:lnTo>
                  <a:pt x="552" y="84"/>
                </a:lnTo>
                <a:lnTo>
                  <a:pt x="546" y="84"/>
                </a:lnTo>
                <a:lnTo>
                  <a:pt x="546" y="78"/>
                </a:lnTo>
                <a:lnTo>
                  <a:pt x="552" y="78"/>
                </a:lnTo>
                <a:lnTo>
                  <a:pt x="552" y="72"/>
                </a:lnTo>
                <a:lnTo>
                  <a:pt x="558" y="72"/>
                </a:lnTo>
                <a:lnTo>
                  <a:pt x="558" y="66"/>
                </a:lnTo>
                <a:lnTo>
                  <a:pt x="564" y="66"/>
                </a:lnTo>
                <a:lnTo>
                  <a:pt x="564" y="60"/>
                </a:lnTo>
                <a:lnTo>
                  <a:pt x="558" y="60"/>
                </a:lnTo>
                <a:lnTo>
                  <a:pt x="558" y="54"/>
                </a:lnTo>
                <a:lnTo>
                  <a:pt x="552" y="54"/>
                </a:lnTo>
                <a:lnTo>
                  <a:pt x="558" y="54"/>
                </a:lnTo>
                <a:lnTo>
                  <a:pt x="564" y="54"/>
                </a:lnTo>
                <a:lnTo>
                  <a:pt x="564" y="48"/>
                </a:lnTo>
                <a:lnTo>
                  <a:pt x="570" y="48"/>
                </a:lnTo>
                <a:lnTo>
                  <a:pt x="570" y="42"/>
                </a:lnTo>
                <a:lnTo>
                  <a:pt x="564" y="36"/>
                </a:lnTo>
                <a:lnTo>
                  <a:pt x="570" y="36"/>
                </a:lnTo>
                <a:lnTo>
                  <a:pt x="570" y="30"/>
                </a:lnTo>
                <a:lnTo>
                  <a:pt x="576" y="30"/>
                </a:lnTo>
                <a:lnTo>
                  <a:pt x="582" y="30"/>
                </a:lnTo>
                <a:lnTo>
                  <a:pt x="588" y="24"/>
                </a:lnTo>
                <a:lnTo>
                  <a:pt x="588" y="12"/>
                </a:lnTo>
                <a:lnTo>
                  <a:pt x="582" y="12"/>
                </a:lnTo>
                <a:lnTo>
                  <a:pt x="582" y="6"/>
                </a:lnTo>
                <a:lnTo>
                  <a:pt x="588" y="6"/>
                </a:lnTo>
                <a:lnTo>
                  <a:pt x="588" y="0"/>
                </a:lnTo>
                <a:lnTo>
                  <a:pt x="594" y="0"/>
                </a:lnTo>
                <a:lnTo>
                  <a:pt x="600" y="0"/>
                </a:lnTo>
                <a:lnTo>
                  <a:pt x="606" y="0"/>
                </a:lnTo>
                <a:lnTo>
                  <a:pt x="612" y="0"/>
                </a:lnTo>
                <a:lnTo>
                  <a:pt x="618" y="0"/>
                </a:lnTo>
                <a:lnTo>
                  <a:pt x="624" y="0"/>
                </a:lnTo>
                <a:lnTo>
                  <a:pt x="636" y="6"/>
                </a:lnTo>
                <a:lnTo>
                  <a:pt x="648" y="6"/>
                </a:lnTo>
                <a:lnTo>
                  <a:pt x="648" y="12"/>
                </a:lnTo>
                <a:lnTo>
                  <a:pt x="648" y="18"/>
                </a:lnTo>
                <a:lnTo>
                  <a:pt x="648" y="24"/>
                </a:lnTo>
                <a:lnTo>
                  <a:pt x="648" y="18"/>
                </a:lnTo>
                <a:lnTo>
                  <a:pt x="654" y="18"/>
                </a:lnTo>
                <a:lnTo>
                  <a:pt x="654" y="24"/>
                </a:lnTo>
                <a:lnTo>
                  <a:pt x="654" y="30"/>
                </a:lnTo>
                <a:lnTo>
                  <a:pt x="654" y="36"/>
                </a:lnTo>
                <a:lnTo>
                  <a:pt x="654" y="42"/>
                </a:lnTo>
                <a:lnTo>
                  <a:pt x="654" y="48"/>
                </a:lnTo>
                <a:lnTo>
                  <a:pt x="654" y="54"/>
                </a:lnTo>
                <a:lnTo>
                  <a:pt x="654" y="48"/>
                </a:lnTo>
                <a:lnTo>
                  <a:pt x="648" y="48"/>
                </a:lnTo>
                <a:lnTo>
                  <a:pt x="648" y="54"/>
                </a:lnTo>
                <a:lnTo>
                  <a:pt x="642" y="54"/>
                </a:lnTo>
                <a:lnTo>
                  <a:pt x="642" y="6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1" name="Freeform 9">
            <a:extLst>
              <a:ext uri="{FF2B5EF4-FFF2-40B4-BE49-F238E27FC236}">
                <a16:creationId xmlns:a16="http://schemas.microsoft.com/office/drawing/2014/main" id="{283B7E79-4C30-4ED0-BBBB-B072191FCA6B}"/>
              </a:ext>
            </a:extLst>
          </p:cNvPr>
          <p:cNvSpPr>
            <a:spLocks noEditPoints="1"/>
          </p:cNvSpPr>
          <p:nvPr/>
        </p:nvSpPr>
        <p:spPr bwMode="gray">
          <a:xfrm rot="533595">
            <a:off x="3891564" y="1899911"/>
            <a:ext cx="1164762" cy="1361267"/>
          </a:xfrm>
          <a:custGeom>
            <a:avLst/>
            <a:gdLst>
              <a:gd name="T0" fmla="*/ 96 w 1284"/>
              <a:gd name="T1" fmla="*/ 630 h 1608"/>
              <a:gd name="T2" fmla="*/ 96 w 1284"/>
              <a:gd name="T3" fmla="*/ 654 h 1608"/>
              <a:gd name="T4" fmla="*/ 84 w 1284"/>
              <a:gd name="T5" fmla="*/ 642 h 1608"/>
              <a:gd name="T6" fmla="*/ 42 w 1284"/>
              <a:gd name="T7" fmla="*/ 624 h 1608"/>
              <a:gd name="T8" fmla="*/ 24 w 1284"/>
              <a:gd name="T9" fmla="*/ 642 h 1608"/>
              <a:gd name="T10" fmla="*/ 240 w 1284"/>
              <a:gd name="T11" fmla="*/ 558 h 1608"/>
              <a:gd name="T12" fmla="*/ 234 w 1284"/>
              <a:gd name="T13" fmla="*/ 552 h 1608"/>
              <a:gd name="T14" fmla="*/ 198 w 1284"/>
              <a:gd name="T15" fmla="*/ 672 h 1608"/>
              <a:gd name="T16" fmla="*/ 126 w 1284"/>
              <a:gd name="T17" fmla="*/ 636 h 1608"/>
              <a:gd name="T18" fmla="*/ 84 w 1284"/>
              <a:gd name="T19" fmla="*/ 636 h 1608"/>
              <a:gd name="T20" fmla="*/ 72 w 1284"/>
              <a:gd name="T21" fmla="*/ 600 h 1608"/>
              <a:gd name="T22" fmla="*/ 186 w 1284"/>
              <a:gd name="T23" fmla="*/ 528 h 1608"/>
              <a:gd name="T24" fmla="*/ 1128 w 1284"/>
              <a:gd name="T25" fmla="*/ 36 h 1608"/>
              <a:gd name="T26" fmla="*/ 1182 w 1284"/>
              <a:gd name="T27" fmla="*/ 120 h 1608"/>
              <a:gd name="T28" fmla="*/ 1206 w 1284"/>
              <a:gd name="T29" fmla="*/ 204 h 1608"/>
              <a:gd name="T30" fmla="*/ 1152 w 1284"/>
              <a:gd name="T31" fmla="*/ 282 h 1608"/>
              <a:gd name="T32" fmla="*/ 1194 w 1284"/>
              <a:gd name="T33" fmla="*/ 378 h 1608"/>
              <a:gd name="T34" fmla="*/ 1200 w 1284"/>
              <a:gd name="T35" fmla="*/ 444 h 1608"/>
              <a:gd name="T36" fmla="*/ 1278 w 1284"/>
              <a:gd name="T37" fmla="*/ 510 h 1608"/>
              <a:gd name="T38" fmla="*/ 1278 w 1284"/>
              <a:gd name="T39" fmla="*/ 588 h 1608"/>
              <a:gd name="T40" fmla="*/ 1266 w 1284"/>
              <a:gd name="T41" fmla="*/ 708 h 1608"/>
              <a:gd name="T42" fmla="*/ 1194 w 1284"/>
              <a:gd name="T43" fmla="*/ 786 h 1608"/>
              <a:gd name="T44" fmla="*/ 1110 w 1284"/>
              <a:gd name="T45" fmla="*/ 858 h 1608"/>
              <a:gd name="T46" fmla="*/ 1086 w 1284"/>
              <a:gd name="T47" fmla="*/ 918 h 1608"/>
              <a:gd name="T48" fmla="*/ 1170 w 1284"/>
              <a:gd name="T49" fmla="*/ 972 h 1608"/>
              <a:gd name="T50" fmla="*/ 1176 w 1284"/>
              <a:gd name="T51" fmla="*/ 1056 h 1608"/>
              <a:gd name="T52" fmla="*/ 1098 w 1284"/>
              <a:gd name="T53" fmla="*/ 1104 h 1608"/>
              <a:gd name="T54" fmla="*/ 1056 w 1284"/>
              <a:gd name="T55" fmla="*/ 1182 h 1608"/>
              <a:gd name="T56" fmla="*/ 960 w 1284"/>
              <a:gd name="T57" fmla="*/ 1242 h 1608"/>
              <a:gd name="T58" fmla="*/ 888 w 1284"/>
              <a:gd name="T59" fmla="*/ 1194 h 1608"/>
              <a:gd name="T60" fmla="*/ 804 w 1284"/>
              <a:gd name="T61" fmla="*/ 1206 h 1608"/>
              <a:gd name="T62" fmla="*/ 756 w 1284"/>
              <a:gd name="T63" fmla="*/ 1272 h 1608"/>
              <a:gd name="T64" fmla="*/ 654 w 1284"/>
              <a:gd name="T65" fmla="*/ 1278 h 1608"/>
              <a:gd name="T66" fmla="*/ 558 w 1284"/>
              <a:gd name="T67" fmla="*/ 1320 h 1608"/>
              <a:gd name="T68" fmla="*/ 492 w 1284"/>
              <a:gd name="T69" fmla="*/ 1410 h 1608"/>
              <a:gd name="T70" fmla="*/ 402 w 1284"/>
              <a:gd name="T71" fmla="*/ 1386 h 1608"/>
              <a:gd name="T72" fmla="*/ 366 w 1284"/>
              <a:gd name="T73" fmla="*/ 1464 h 1608"/>
              <a:gd name="T74" fmla="*/ 318 w 1284"/>
              <a:gd name="T75" fmla="*/ 1566 h 1608"/>
              <a:gd name="T76" fmla="*/ 246 w 1284"/>
              <a:gd name="T77" fmla="*/ 1608 h 1608"/>
              <a:gd name="T78" fmla="*/ 156 w 1284"/>
              <a:gd name="T79" fmla="*/ 1530 h 1608"/>
              <a:gd name="T80" fmla="*/ 66 w 1284"/>
              <a:gd name="T81" fmla="*/ 1458 h 1608"/>
              <a:gd name="T82" fmla="*/ 24 w 1284"/>
              <a:gd name="T83" fmla="*/ 1362 h 1608"/>
              <a:gd name="T84" fmla="*/ 108 w 1284"/>
              <a:gd name="T85" fmla="*/ 1278 h 1608"/>
              <a:gd name="T86" fmla="*/ 126 w 1284"/>
              <a:gd name="T87" fmla="*/ 1152 h 1608"/>
              <a:gd name="T88" fmla="*/ 126 w 1284"/>
              <a:gd name="T89" fmla="*/ 1038 h 1608"/>
              <a:gd name="T90" fmla="*/ 72 w 1284"/>
              <a:gd name="T91" fmla="*/ 888 h 1608"/>
              <a:gd name="T92" fmla="*/ 54 w 1284"/>
              <a:gd name="T93" fmla="*/ 750 h 1608"/>
              <a:gd name="T94" fmla="*/ 108 w 1284"/>
              <a:gd name="T95" fmla="*/ 774 h 1608"/>
              <a:gd name="T96" fmla="*/ 204 w 1284"/>
              <a:gd name="T97" fmla="*/ 840 h 1608"/>
              <a:gd name="T98" fmla="*/ 180 w 1284"/>
              <a:gd name="T99" fmla="*/ 780 h 1608"/>
              <a:gd name="T100" fmla="*/ 204 w 1284"/>
              <a:gd name="T101" fmla="*/ 672 h 1608"/>
              <a:gd name="T102" fmla="*/ 246 w 1284"/>
              <a:gd name="T103" fmla="*/ 564 h 1608"/>
              <a:gd name="T104" fmla="*/ 276 w 1284"/>
              <a:gd name="T105" fmla="*/ 492 h 1608"/>
              <a:gd name="T106" fmla="*/ 324 w 1284"/>
              <a:gd name="T107" fmla="*/ 462 h 1608"/>
              <a:gd name="T108" fmla="*/ 462 w 1284"/>
              <a:gd name="T109" fmla="*/ 402 h 1608"/>
              <a:gd name="T110" fmla="*/ 594 w 1284"/>
              <a:gd name="T111" fmla="*/ 360 h 1608"/>
              <a:gd name="T112" fmla="*/ 708 w 1284"/>
              <a:gd name="T113" fmla="*/ 312 h 1608"/>
              <a:gd name="T114" fmla="*/ 846 w 1284"/>
              <a:gd name="T115" fmla="*/ 264 h 1608"/>
              <a:gd name="T116" fmla="*/ 894 w 1284"/>
              <a:gd name="T117" fmla="*/ 258 h 1608"/>
              <a:gd name="T118" fmla="*/ 900 w 1284"/>
              <a:gd name="T119" fmla="*/ 222 h 1608"/>
              <a:gd name="T120" fmla="*/ 936 w 1284"/>
              <a:gd name="T121" fmla="*/ 204 h 1608"/>
              <a:gd name="T122" fmla="*/ 960 w 1284"/>
              <a:gd name="T123" fmla="*/ 144 h 1608"/>
              <a:gd name="T124" fmla="*/ 1026 w 1284"/>
              <a:gd name="T125" fmla="*/ 36 h 160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284" h="1608">
                <a:moveTo>
                  <a:pt x="168" y="786"/>
                </a:moveTo>
                <a:lnTo>
                  <a:pt x="168" y="792"/>
                </a:lnTo>
                <a:lnTo>
                  <a:pt x="169" y="792"/>
                </a:lnTo>
                <a:lnTo>
                  <a:pt x="168" y="786"/>
                </a:lnTo>
                <a:close/>
                <a:moveTo>
                  <a:pt x="168" y="774"/>
                </a:moveTo>
                <a:lnTo>
                  <a:pt x="174" y="774"/>
                </a:lnTo>
                <a:lnTo>
                  <a:pt x="174" y="780"/>
                </a:lnTo>
                <a:lnTo>
                  <a:pt x="168" y="780"/>
                </a:lnTo>
                <a:lnTo>
                  <a:pt x="168" y="774"/>
                </a:lnTo>
                <a:close/>
                <a:moveTo>
                  <a:pt x="48" y="732"/>
                </a:moveTo>
                <a:lnTo>
                  <a:pt x="54" y="732"/>
                </a:lnTo>
                <a:lnTo>
                  <a:pt x="54" y="738"/>
                </a:lnTo>
                <a:lnTo>
                  <a:pt x="48" y="738"/>
                </a:lnTo>
                <a:lnTo>
                  <a:pt x="48" y="732"/>
                </a:lnTo>
                <a:close/>
                <a:moveTo>
                  <a:pt x="96" y="654"/>
                </a:moveTo>
                <a:lnTo>
                  <a:pt x="96" y="648"/>
                </a:lnTo>
                <a:lnTo>
                  <a:pt x="96" y="642"/>
                </a:lnTo>
                <a:lnTo>
                  <a:pt x="102" y="642"/>
                </a:lnTo>
                <a:lnTo>
                  <a:pt x="102" y="636"/>
                </a:lnTo>
                <a:lnTo>
                  <a:pt x="108" y="636"/>
                </a:lnTo>
                <a:lnTo>
                  <a:pt x="108" y="642"/>
                </a:lnTo>
                <a:lnTo>
                  <a:pt x="108" y="648"/>
                </a:lnTo>
                <a:lnTo>
                  <a:pt x="102" y="648"/>
                </a:lnTo>
                <a:lnTo>
                  <a:pt x="102" y="654"/>
                </a:lnTo>
                <a:lnTo>
                  <a:pt x="96" y="654"/>
                </a:lnTo>
                <a:close/>
                <a:moveTo>
                  <a:pt x="96" y="630"/>
                </a:moveTo>
                <a:lnTo>
                  <a:pt x="102" y="630"/>
                </a:lnTo>
                <a:lnTo>
                  <a:pt x="108" y="630"/>
                </a:lnTo>
                <a:lnTo>
                  <a:pt x="108" y="636"/>
                </a:lnTo>
                <a:lnTo>
                  <a:pt x="102" y="636"/>
                </a:lnTo>
                <a:lnTo>
                  <a:pt x="96" y="636"/>
                </a:lnTo>
                <a:lnTo>
                  <a:pt x="96" y="642"/>
                </a:lnTo>
                <a:lnTo>
                  <a:pt x="90" y="642"/>
                </a:lnTo>
                <a:lnTo>
                  <a:pt x="96" y="636"/>
                </a:lnTo>
                <a:lnTo>
                  <a:pt x="96" y="630"/>
                </a:lnTo>
                <a:close/>
                <a:moveTo>
                  <a:pt x="66" y="636"/>
                </a:moveTo>
                <a:lnTo>
                  <a:pt x="60" y="636"/>
                </a:lnTo>
                <a:lnTo>
                  <a:pt x="60" y="642"/>
                </a:lnTo>
                <a:lnTo>
                  <a:pt x="54" y="642"/>
                </a:lnTo>
                <a:lnTo>
                  <a:pt x="54" y="636"/>
                </a:lnTo>
                <a:lnTo>
                  <a:pt x="60" y="636"/>
                </a:lnTo>
                <a:lnTo>
                  <a:pt x="66" y="636"/>
                </a:lnTo>
                <a:lnTo>
                  <a:pt x="66" y="630"/>
                </a:lnTo>
                <a:lnTo>
                  <a:pt x="66" y="636"/>
                </a:lnTo>
                <a:close/>
                <a:moveTo>
                  <a:pt x="78" y="630"/>
                </a:moveTo>
                <a:lnTo>
                  <a:pt x="78" y="636"/>
                </a:lnTo>
                <a:lnTo>
                  <a:pt x="79" y="636"/>
                </a:lnTo>
                <a:lnTo>
                  <a:pt x="78" y="630"/>
                </a:lnTo>
                <a:close/>
                <a:moveTo>
                  <a:pt x="90" y="642"/>
                </a:moveTo>
                <a:lnTo>
                  <a:pt x="96" y="642"/>
                </a:lnTo>
                <a:lnTo>
                  <a:pt x="96" y="648"/>
                </a:lnTo>
                <a:lnTo>
                  <a:pt x="96" y="654"/>
                </a:lnTo>
                <a:lnTo>
                  <a:pt x="90" y="654"/>
                </a:lnTo>
                <a:lnTo>
                  <a:pt x="84" y="654"/>
                </a:lnTo>
                <a:lnTo>
                  <a:pt x="84" y="660"/>
                </a:lnTo>
                <a:lnTo>
                  <a:pt x="78" y="660"/>
                </a:lnTo>
                <a:lnTo>
                  <a:pt x="78" y="666"/>
                </a:lnTo>
                <a:lnTo>
                  <a:pt x="78" y="672"/>
                </a:lnTo>
                <a:lnTo>
                  <a:pt x="78" y="678"/>
                </a:lnTo>
                <a:lnTo>
                  <a:pt x="72" y="672"/>
                </a:lnTo>
                <a:lnTo>
                  <a:pt x="66" y="666"/>
                </a:lnTo>
                <a:lnTo>
                  <a:pt x="60" y="660"/>
                </a:lnTo>
                <a:lnTo>
                  <a:pt x="60" y="654"/>
                </a:lnTo>
                <a:lnTo>
                  <a:pt x="54" y="654"/>
                </a:lnTo>
                <a:lnTo>
                  <a:pt x="54" y="648"/>
                </a:lnTo>
                <a:lnTo>
                  <a:pt x="48" y="648"/>
                </a:lnTo>
                <a:lnTo>
                  <a:pt x="48" y="642"/>
                </a:lnTo>
                <a:lnTo>
                  <a:pt x="54" y="642"/>
                </a:lnTo>
                <a:lnTo>
                  <a:pt x="54" y="648"/>
                </a:lnTo>
                <a:lnTo>
                  <a:pt x="54" y="642"/>
                </a:lnTo>
                <a:lnTo>
                  <a:pt x="60" y="642"/>
                </a:lnTo>
                <a:lnTo>
                  <a:pt x="66" y="642"/>
                </a:lnTo>
                <a:lnTo>
                  <a:pt x="66" y="636"/>
                </a:lnTo>
                <a:lnTo>
                  <a:pt x="66" y="630"/>
                </a:lnTo>
                <a:lnTo>
                  <a:pt x="72" y="630"/>
                </a:lnTo>
                <a:lnTo>
                  <a:pt x="78" y="636"/>
                </a:lnTo>
                <a:lnTo>
                  <a:pt x="78" y="642"/>
                </a:lnTo>
                <a:lnTo>
                  <a:pt x="84" y="642"/>
                </a:lnTo>
                <a:lnTo>
                  <a:pt x="90" y="642"/>
                </a:lnTo>
                <a:close/>
                <a:moveTo>
                  <a:pt x="48" y="636"/>
                </a:moveTo>
                <a:lnTo>
                  <a:pt x="48" y="630"/>
                </a:lnTo>
                <a:lnTo>
                  <a:pt x="42" y="630"/>
                </a:lnTo>
                <a:lnTo>
                  <a:pt x="42" y="624"/>
                </a:lnTo>
                <a:lnTo>
                  <a:pt x="36" y="618"/>
                </a:lnTo>
                <a:lnTo>
                  <a:pt x="42" y="618"/>
                </a:lnTo>
                <a:lnTo>
                  <a:pt x="42" y="624"/>
                </a:lnTo>
                <a:lnTo>
                  <a:pt x="48" y="624"/>
                </a:lnTo>
                <a:lnTo>
                  <a:pt x="48" y="630"/>
                </a:lnTo>
                <a:lnTo>
                  <a:pt x="48" y="636"/>
                </a:lnTo>
                <a:close/>
                <a:moveTo>
                  <a:pt x="36" y="594"/>
                </a:moveTo>
                <a:lnTo>
                  <a:pt x="42" y="594"/>
                </a:lnTo>
                <a:lnTo>
                  <a:pt x="42" y="588"/>
                </a:lnTo>
                <a:lnTo>
                  <a:pt x="42" y="594"/>
                </a:lnTo>
                <a:lnTo>
                  <a:pt x="42" y="600"/>
                </a:lnTo>
                <a:lnTo>
                  <a:pt x="36" y="600"/>
                </a:lnTo>
                <a:lnTo>
                  <a:pt x="36" y="606"/>
                </a:lnTo>
                <a:lnTo>
                  <a:pt x="30" y="612"/>
                </a:lnTo>
                <a:lnTo>
                  <a:pt x="36" y="618"/>
                </a:lnTo>
                <a:lnTo>
                  <a:pt x="36" y="624"/>
                </a:lnTo>
                <a:lnTo>
                  <a:pt x="42" y="624"/>
                </a:lnTo>
                <a:lnTo>
                  <a:pt x="36" y="630"/>
                </a:lnTo>
                <a:lnTo>
                  <a:pt x="42" y="636"/>
                </a:lnTo>
                <a:lnTo>
                  <a:pt x="42" y="630"/>
                </a:lnTo>
                <a:lnTo>
                  <a:pt x="42" y="624"/>
                </a:lnTo>
                <a:lnTo>
                  <a:pt x="42" y="630"/>
                </a:lnTo>
                <a:lnTo>
                  <a:pt x="42" y="636"/>
                </a:lnTo>
                <a:lnTo>
                  <a:pt x="48" y="636"/>
                </a:lnTo>
                <a:lnTo>
                  <a:pt x="48" y="642"/>
                </a:lnTo>
                <a:lnTo>
                  <a:pt x="48" y="648"/>
                </a:lnTo>
                <a:lnTo>
                  <a:pt x="48" y="654"/>
                </a:lnTo>
                <a:lnTo>
                  <a:pt x="54" y="654"/>
                </a:lnTo>
                <a:lnTo>
                  <a:pt x="54" y="660"/>
                </a:lnTo>
                <a:lnTo>
                  <a:pt x="60" y="660"/>
                </a:lnTo>
                <a:lnTo>
                  <a:pt x="60" y="666"/>
                </a:lnTo>
                <a:lnTo>
                  <a:pt x="66" y="666"/>
                </a:lnTo>
                <a:lnTo>
                  <a:pt x="66" y="672"/>
                </a:lnTo>
                <a:lnTo>
                  <a:pt x="72" y="672"/>
                </a:lnTo>
                <a:lnTo>
                  <a:pt x="72" y="678"/>
                </a:lnTo>
                <a:lnTo>
                  <a:pt x="66" y="678"/>
                </a:lnTo>
                <a:lnTo>
                  <a:pt x="66" y="672"/>
                </a:lnTo>
                <a:lnTo>
                  <a:pt x="60" y="672"/>
                </a:lnTo>
                <a:lnTo>
                  <a:pt x="60" y="666"/>
                </a:lnTo>
                <a:lnTo>
                  <a:pt x="54" y="666"/>
                </a:lnTo>
                <a:lnTo>
                  <a:pt x="48" y="666"/>
                </a:lnTo>
                <a:lnTo>
                  <a:pt x="42" y="666"/>
                </a:lnTo>
                <a:lnTo>
                  <a:pt x="42" y="660"/>
                </a:lnTo>
                <a:lnTo>
                  <a:pt x="36" y="654"/>
                </a:lnTo>
                <a:lnTo>
                  <a:pt x="30" y="654"/>
                </a:lnTo>
                <a:lnTo>
                  <a:pt x="30" y="648"/>
                </a:lnTo>
                <a:lnTo>
                  <a:pt x="24" y="642"/>
                </a:lnTo>
                <a:lnTo>
                  <a:pt x="18" y="642"/>
                </a:lnTo>
                <a:lnTo>
                  <a:pt x="18" y="636"/>
                </a:lnTo>
                <a:lnTo>
                  <a:pt x="12" y="636"/>
                </a:lnTo>
                <a:lnTo>
                  <a:pt x="12" y="630"/>
                </a:lnTo>
                <a:lnTo>
                  <a:pt x="12" y="624"/>
                </a:lnTo>
                <a:lnTo>
                  <a:pt x="18" y="624"/>
                </a:lnTo>
                <a:lnTo>
                  <a:pt x="12" y="624"/>
                </a:lnTo>
                <a:lnTo>
                  <a:pt x="12" y="618"/>
                </a:lnTo>
                <a:lnTo>
                  <a:pt x="12" y="612"/>
                </a:lnTo>
                <a:lnTo>
                  <a:pt x="6" y="606"/>
                </a:lnTo>
                <a:lnTo>
                  <a:pt x="12" y="600"/>
                </a:lnTo>
                <a:lnTo>
                  <a:pt x="6" y="600"/>
                </a:lnTo>
                <a:lnTo>
                  <a:pt x="0" y="600"/>
                </a:lnTo>
                <a:lnTo>
                  <a:pt x="6" y="600"/>
                </a:lnTo>
                <a:lnTo>
                  <a:pt x="12" y="600"/>
                </a:lnTo>
                <a:lnTo>
                  <a:pt x="12" y="594"/>
                </a:lnTo>
                <a:lnTo>
                  <a:pt x="18" y="588"/>
                </a:lnTo>
                <a:lnTo>
                  <a:pt x="24" y="588"/>
                </a:lnTo>
                <a:lnTo>
                  <a:pt x="30" y="588"/>
                </a:lnTo>
                <a:lnTo>
                  <a:pt x="30" y="594"/>
                </a:lnTo>
                <a:lnTo>
                  <a:pt x="36" y="594"/>
                </a:lnTo>
                <a:close/>
                <a:moveTo>
                  <a:pt x="264" y="552"/>
                </a:moveTo>
                <a:lnTo>
                  <a:pt x="258" y="552"/>
                </a:lnTo>
                <a:lnTo>
                  <a:pt x="252" y="552"/>
                </a:lnTo>
                <a:lnTo>
                  <a:pt x="246" y="558"/>
                </a:lnTo>
                <a:lnTo>
                  <a:pt x="240" y="558"/>
                </a:lnTo>
                <a:lnTo>
                  <a:pt x="240" y="552"/>
                </a:lnTo>
                <a:lnTo>
                  <a:pt x="240" y="546"/>
                </a:lnTo>
                <a:lnTo>
                  <a:pt x="240" y="540"/>
                </a:lnTo>
                <a:lnTo>
                  <a:pt x="246" y="540"/>
                </a:lnTo>
                <a:lnTo>
                  <a:pt x="240" y="540"/>
                </a:lnTo>
                <a:lnTo>
                  <a:pt x="240" y="534"/>
                </a:lnTo>
                <a:lnTo>
                  <a:pt x="246" y="534"/>
                </a:lnTo>
                <a:lnTo>
                  <a:pt x="252" y="534"/>
                </a:lnTo>
                <a:lnTo>
                  <a:pt x="258" y="534"/>
                </a:lnTo>
                <a:lnTo>
                  <a:pt x="264" y="540"/>
                </a:lnTo>
                <a:lnTo>
                  <a:pt x="264" y="546"/>
                </a:lnTo>
                <a:lnTo>
                  <a:pt x="264" y="552"/>
                </a:lnTo>
                <a:close/>
                <a:moveTo>
                  <a:pt x="264" y="498"/>
                </a:moveTo>
                <a:lnTo>
                  <a:pt x="264" y="504"/>
                </a:lnTo>
                <a:lnTo>
                  <a:pt x="258" y="510"/>
                </a:lnTo>
                <a:lnTo>
                  <a:pt x="252" y="510"/>
                </a:lnTo>
                <a:lnTo>
                  <a:pt x="246" y="510"/>
                </a:lnTo>
                <a:lnTo>
                  <a:pt x="246" y="516"/>
                </a:lnTo>
                <a:lnTo>
                  <a:pt x="240" y="516"/>
                </a:lnTo>
                <a:lnTo>
                  <a:pt x="234" y="516"/>
                </a:lnTo>
                <a:lnTo>
                  <a:pt x="234" y="522"/>
                </a:lnTo>
                <a:lnTo>
                  <a:pt x="234" y="528"/>
                </a:lnTo>
                <a:lnTo>
                  <a:pt x="234" y="534"/>
                </a:lnTo>
                <a:lnTo>
                  <a:pt x="234" y="540"/>
                </a:lnTo>
                <a:lnTo>
                  <a:pt x="234" y="546"/>
                </a:lnTo>
                <a:lnTo>
                  <a:pt x="234" y="552"/>
                </a:lnTo>
                <a:lnTo>
                  <a:pt x="234" y="558"/>
                </a:lnTo>
                <a:lnTo>
                  <a:pt x="234" y="564"/>
                </a:lnTo>
                <a:lnTo>
                  <a:pt x="234" y="570"/>
                </a:lnTo>
                <a:lnTo>
                  <a:pt x="228" y="576"/>
                </a:lnTo>
                <a:lnTo>
                  <a:pt x="228" y="582"/>
                </a:lnTo>
                <a:lnTo>
                  <a:pt x="222" y="582"/>
                </a:lnTo>
                <a:lnTo>
                  <a:pt x="222" y="588"/>
                </a:lnTo>
                <a:lnTo>
                  <a:pt x="222" y="594"/>
                </a:lnTo>
                <a:lnTo>
                  <a:pt x="216" y="594"/>
                </a:lnTo>
                <a:lnTo>
                  <a:pt x="210" y="594"/>
                </a:lnTo>
                <a:lnTo>
                  <a:pt x="210" y="600"/>
                </a:lnTo>
                <a:lnTo>
                  <a:pt x="210" y="606"/>
                </a:lnTo>
                <a:lnTo>
                  <a:pt x="210" y="612"/>
                </a:lnTo>
                <a:lnTo>
                  <a:pt x="204" y="612"/>
                </a:lnTo>
                <a:lnTo>
                  <a:pt x="204" y="618"/>
                </a:lnTo>
                <a:lnTo>
                  <a:pt x="204" y="624"/>
                </a:lnTo>
                <a:lnTo>
                  <a:pt x="204" y="630"/>
                </a:lnTo>
                <a:lnTo>
                  <a:pt x="204" y="636"/>
                </a:lnTo>
                <a:lnTo>
                  <a:pt x="204" y="642"/>
                </a:lnTo>
                <a:lnTo>
                  <a:pt x="204" y="648"/>
                </a:lnTo>
                <a:lnTo>
                  <a:pt x="204" y="654"/>
                </a:lnTo>
                <a:lnTo>
                  <a:pt x="198" y="654"/>
                </a:lnTo>
                <a:lnTo>
                  <a:pt x="192" y="654"/>
                </a:lnTo>
                <a:lnTo>
                  <a:pt x="192" y="660"/>
                </a:lnTo>
                <a:lnTo>
                  <a:pt x="192" y="666"/>
                </a:lnTo>
                <a:lnTo>
                  <a:pt x="198" y="672"/>
                </a:lnTo>
                <a:lnTo>
                  <a:pt x="192" y="672"/>
                </a:lnTo>
                <a:lnTo>
                  <a:pt x="192" y="678"/>
                </a:lnTo>
                <a:lnTo>
                  <a:pt x="192" y="672"/>
                </a:lnTo>
                <a:lnTo>
                  <a:pt x="186" y="672"/>
                </a:lnTo>
                <a:lnTo>
                  <a:pt x="186" y="666"/>
                </a:lnTo>
                <a:lnTo>
                  <a:pt x="186" y="660"/>
                </a:lnTo>
                <a:lnTo>
                  <a:pt x="186" y="654"/>
                </a:lnTo>
                <a:lnTo>
                  <a:pt x="180" y="654"/>
                </a:lnTo>
                <a:lnTo>
                  <a:pt x="186" y="654"/>
                </a:lnTo>
                <a:lnTo>
                  <a:pt x="186" y="648"/>
                </a:lnTo>
                <a:lnTo>
                  <a:pt x="192" y="648"/>
                </a:lnTo>
                <a:lnTo>
                  <a:pt x="186" y="648"/>
                </a:lnTo>
                <a:lnTo>
                  <a:pt x="186" y="642"/>
                </a:lnTo>
                <a:lnTo>
                  <a:pt x="180" y="636"/>
                </a:lnTo>
                <a:lnTo>
                  <a:pt x="174" y="636"/>
                </a:lnTo>
                <a:lnTo>
                  <a:pt x="168" y="636"/>
                </a:lnTo>
                <a:lnTo>
                  <a:pt x="168" y="630"/>
                </a:lnTo>
                <a:lnTo>
                  <a:pt x="162" y="636"/>
                </a:lnTo>
                <a:lnTo>
                  <a:pt x="156" y="636"/>
                </a:lnTo>
                <a:lnTo>
                  <a:pt x="150" y="636"/>
                </a:lnTo>
                <a:lnTo>
                  <a:pt x="144" y="636"/>
                </a:lnTo>
                <a:lnTo>
                  <a:pt x="144" y="630"/>
                </a:lnTo>
                <a:lnTo>
                  <a:pt x="138" y="630"/>
                </a:lnTo>
                <a:lnTo>
                  <a:pt x="132" y="630"/>
                </a:lnTo>
                <a:lnTo>
                  <a:pt x="126" y="630"/>
                </a:lnTo>
                <a:lnTo>
                  <a:pt x="126" y="636"/>
                </a:lnTo>
                <a:lnTo>
                  <a:pt x="120" y="636"/>
                </a:lnTo>
                <a:lnTo>
                  <a:pt x="114" y="636"/>
                </a:lnTo>
                <a:lnTo>
                  <a:pt x="114" y="630"/>
                </a:lnTo>
                <a:lnTo>
                  <a:pt x="114" y="624"/>
                </a:lnTo>
                <a:lnTo>
                  <a:pt x="114" y="618"/>
                </a:lnTo>
                <a:lnTo>
                  <a:pt x="114" y="612"/>
                </a:lnTo>
                <a:lnTo>
                  <a:pt x="114" y="606"/>
                </a:lnTo>
                <a:lnTo>
                  <a:pt x="114" y="612"/>
                </a:lnTo>
                <a:lnTo>
                  <a:pt x="114" y="618"/>
                </a:lnTo>
                <a:lnTo>
                  <a:pt x="108" y="618"/>
                </a:lnTo>
                <a:lnTo>
                  <a:pt x="108" y="612"/>
                </a:lnTo>
                <a:lnTo>
                  <a:pt x="102" y="612"/>
                </a:lnTo>
                <a:lnTo>
                  <a:pt x="96" y="612"/>
                </a:lnTo>
                <a:lnTo>
                  <a:pt x="90" y="612"/>
                </a:lnTo>
                <a:lnTo>
                  <a:pt x="90" y="618"/>
                </a:lnTo>
                <a:lnTo>
                  <a:pt x="90" y="624"/>
                </a:lnTo>
                <a:lnTo>
                  <a:pt x="84" y="624"/>
                </a:lnTo>
                <a:lnTo>
                  <a:pt x="84" y="630"/>
                </a:lnTo>
                <a:lnTo>
                  <a:pt x="90" y="630"/>
                </a:lnTo>
                <a:lnTo>
                  <a:pt x="90" y="624"/>
                </a:lnTo>
                <a:lnTo>
                  <a:pt x="96" y="624"/>
                </a:lnTo>
                <a:lnTo>
                  <a:pt x="96" y="630"/>
                </a:lnTo>
                <a:lnTo>
                  <a:pt x="90" y="636"/>
                </a:lnTo>
                <a:lnTo>
                  <a:pt x="90" y="642"/>
                </a:lnTo>
                <a:lnTo>
                  <a:pt x="84" y="642"/>
                </a:lnTo>
                <a:lnTo>
                  <a:pt x="84" y="636"/>
                </a:lnTo>
                <a:lnTo>
                  <a:pt x="78" y="630"/>
                </a:lnTo>
                <a:lnTo>
                  <a:pt x="72" y="630"/>
                </a:lnTo>
                <a:lnTo>
                  <a:pt x="66" y="630"/>
                </a:lnTo>
                <a:lnTo>
                  <a:pt x="60" y="630"/>
                </a:lnTo>
                <a:lnTo>
                  <a:pt x="60" y="636"/>
                </a:lnTo>
                <a:lnTo>
                  <a:pt x="54" y="636"/>
                </a:lnTo>
                <a:lnTo>
                  <a:pt x="54" y="642"/>
                </a:lnTo>
                <a:lnTo>
                  <a:pt x="48" y="642"/>
                </a:lnTo>
                <a:lnTo>
                  <a:pt x="48" y="636"/>
                </a:lnTo>
                <a:lnTo>
                  <a:pt x="48" y="630"/>
                </a:lnTo>
                <a:lnTo>
                  <a:pt x="48" y="624"/>
                </a:lnTo>
                <a:lnTo>
                  <a:pt x="48" y="618"/>
                </a:lnTo>
                <a:lnTo>
                  <a:pt x="42" y="618"/>
                </a:lnTo>
                <a:lnTo>
                  <a:pt x="42" y="612"/>
                </a:lnTo>
                <a:lnTo>
                  <a:pt x="36" y="612"/>
                </a:lnTo>
                <a:lnTo>
                  <a:pt x="42" y="612"/>
                </a:lnTo>
                <a:lnTo>
                  <a:pt x="36" y="612"/>
                </a:lnTo>
                <a:lnTo>
                  <a:pt x="36" y="606"/>
                </a:lnTo>
                <a:lnTo>
                  <a:pt x="42" y="606"/>
                </a:lnTo>
                <a:lnTo>
                  <a:pt x="42" y="600"/>
                </a:lnTo>
                <a:lnTo>
                  <a:pt x="48" y="600"/>
                </a:lnTo>
                <a:lnTo>
                  <a:pt x="48" y="594"/>
                </a:lnTo>
                <a:lnTo>
                  <a:pt x="54" y="594"/>
                </a:lnTo>
                <a:lnTo>
                  <a:pt x="60" y="594"/>
                </a:lnTo>
                <a:lnTo>
                  <a:pt x="66" y="600"/>
                </a:lnTo>
                <a:lnTo>
                  <a:pt x="72" y="600"/>
                </a:lnTo>
                <a:lnTo>
                  <a:pt x="78" y="600"/>
                </a:lnTo>
                <a:lnTo>
                  <a:pt x="84" y="600"/>
                </a:lnTo>
                <a:lnTo>
                  <a:pt x="84" y="594"/>
                </a:lnTo>
                <a:lnTo>
                  <a:pt x="90" y="594"/>
                </a:lnTo>
                <a:lnTo>
                  <a:pt x="96" y="594"/>
                </a:lnTo>
                <a:lnTo>
                  <a:pt x="102" y="588"/>
                </a:lnTo>
                <a:lnTo>
                  <a:pt x="108" y="588"/>
                </a:lnTo>
                <a:lnTo>
                  <a:pt x="114" y="582"/>
                </a:lnTo>
                <a:lnTo>
                  <a:pt x="120" y="582"/>
                </a:lnTo>
                <a:lnTo>
                  <a:pt x="120" y="576"/>
                </a:lnTo>
                <a:lnTo>
                  <a:pt x="126" y="576"/>
                </a:lnTo>
                <a:lnTo>
                  <a:pt x="126" y="570"/>
                </a:lnTo>
                <a:lnTo>
                  <a:pt x="132" y="564"/>
                </a:lnTo>
                <a:lnTo>
                  <a:pt x="138" y="558"/>
                </a:lnTo>
                <a:lnTo>
                  <a:pt x="138" y="552"/>
                </a:lnTo>
                <a:lnTo>
                  <a:pt x="144" y="552"/>
                </a:lnTo>
                <a:lnTo>
                  <a:pt x="150" y="552"/>
                </a:lnTo>
                <a:lnTo>
                  <a:pt x="150" y="546"/>
                </a:lnTo>
                <a:lnTo>
                  <a:pt x="156" y="546"/>
                </a:lnTo>
                <a:lnTo>
                  <a:pt x="162" y="546"/>
                </a:lnTo>
                <a:lnTo>
                  <a:pt x="162" y="540"/>
                </a:lnTo>
                <a:lnTo>
                  <a:pt x="168" y="540"/>
                </a:lnTo>
                <a:lnTo>
                  <a:pt x="174" y="540"/>
                </a:lnTo>
                <a:lnTo>
                  <a:pt x="174" y="534"/>
                </a:lnTo>
                <a:lnTo>
                  <a:pt x="180" y="534"/>
                </a:lnTo>
                <a:lnTo>
                  <a:pt x="186" y="528"/>
                </a:lnTo>
                <a:lnTo>
                  <a:pt x="192" y="528"/>
                </a:lnTo>
                <a:lnTo>
                  <a:pt x="198" y="522"/>
                </a:lnTo>
                <a:lnTo>
                  <a:pt x="204" y="522"/>
                </a:lnTo>
                <a:lnTo>
                  <a:pt x="210" y="522"/>
                </a:lnTo>
                <a:lnTo>
                  <a:pt x="210" y="516"/>
                </a:lnTo>
                <a:lnTo>
                  <a:pt x="216" y="516"/>
                </a:lnTo>
                <a:lnTo>
                  <a:pt x="222" y="516"/>
                </a:lnTo>
                <a:lnTo>
                  <a:pt x="228" y="510"/>
                </a:lnTo>
                <a:lnTo>
                  <a:pt x="234" y="504"/>
                </a:lnTo>
                <a:lnTo>
                  <a:pt x="240" y="504"/>
                </a:lnTo>
                <a:lnTo>
                  <a:pt x="240" y="498"/>
                </a:lnTo>
                <a:lnTo>
                  <a:pt x="246" y="498"/>
                </a:lnTo>
                <a:lnTo>
                  <a:pt x="252" y="498"/>
                </a:lnTo>
                <a:lnTo>
                  <a:pt x="258" y="498"/>
                </a:lnTo>
                <a:lnTo>
                  <a:pt x="264" y="498"/>
                </a:lnTo>
                <a:close/>
                <a:moveTo>
                  <a:pt x="1110" y="0"/>
                </a:moveTo>
                <a:lnTo>
                  <a:pt x="1116" y="6"/>
                </a:lnTo>
                <a:lnTo>
                  <a:pt x="1116" y="12"/>
                </a:lnTo>
                <a:lnTo>
                  <a:pt x="1122" y="12"/>
                </a:lnTo>
                <a:lnTo>
                  <a:pt x="1122" y="18"/>
                </a:lnTo>
                <a:lnTo>
                  <a:pt x="1128" y="18"/>
                </a:lnTo>
                <a:lnTo>
                  <a:pt x="1128" y="24"/>
                </a:lnTo>
                <a:lnTo>
                  <a:pt x="1134" y="24"/>
                </a:lnTo>
                <a:lnTo>
                  <a:pt x="1134" y="30"/>
                </a:lnTo>
                <a:lnTo>
                  <a:pt x="1128" y="30"/>
                </a:lnTo>
                <a:lnTo>
                  <a:pt x="1128" y="36"/>
                </a:lnTo>
                <a:lnTo>
                  <a:pt x="1134" y="36"/>
                </a:lnTo>
                <a:lnTo>
                  <a:pt x="1134" y="42"/>
                </a:lnTo>
                <a:lnTo>
                  <a:pt x="1134" y="48"/>
                </a:lnTo>
                <a:lnTo>
                  <a:pt x="1140" y="48"/>
                </a:lnTo>
                <a:lnTo>
                  <a:pt x="1140" y="54"/>
                </a:lnTo>
                <a:lnTo>
                  <a:pt x="1140" y="60"/>
                </a:lnTo>
                <a:lnTo>
                  <a:pt x="1146" y="60"/>
                </a:lnTo>
                <a:lnTo>
                  <a:pt x="1152" y="60"/>
                </a:lnTo>
                <a:lnTo>
                  <a:pt x="1158" y="60"/>
                </a:lnTo>
                <a:lnTo>
                  <a:pt x="1158" y="54"/>
                </a:lnTo>
                <a:lnTo>
                  <a:pt x="1158" y="60"/>
                </a:lnTo>
                <a:lnTo>
                  <a:pt x="1164" y="60"/>
                </a:lnTo>
                <a:lnTo>
                  <a:pt x="1170" y="60"/>
                </a:lnTo>
                <a:lnTo>
                  <a:pt x="1170" y="66"/>
                </a:lnTo>
                <a:lnTo>
                  <a:pt x="1176" y="66"/>
                </a:lnTo>
                <a:lnTo>
                  <a:pt x="1176" y="72"/>
                </a:lnTo>
                <a:lnTo>
                  <a:pt x="1176" y="78"/>
                </a:lnTo>
                <a:lnTo>
                  <a:pt x="1176" y="84"/>
                </a:lnTo>
                <a:lnTo>
                  <a:pt x="1182" y="90"/>
                </a:lnTo>
                <a:lnTo>
                  <a:pt x="1182" y="96"/>
                </a:lnTo>
                <a:lnTo>
                  <a:pt x="1182" y="102"/>
                </a:lnTo>
                <a:lnTo>
                  <a:pt x="1176" y="102"/>
                </a:lnTo>
                <a:lnTo>
                  <a:pt x="1176" y="108"/>
                </a:lnTo>
                <a:lnTo>
                  <a:pt x="1176" y="114"/>
                </a:lnTo>
                <a:lnTo>
                  <a:pt x="1182" y="114"/>
                </a:lnTo>
                <a:lnTo>
                  <a:pt x="1182" y="120"/>
                </a:lnTo>
                <a:lnTo>
                  <a:pt x="1188" y="120"/>
                </a:lnTo>
                <a:lnTo>
                  <a:pt x="1188" y="126"/>
                </a:lnTo>
                <a:lnTo>
                  <a:pt x="1194" y="126"/>
                </a:lnTo>
                <a:lnTo>
                  <a:pt x="1194" y="132"/>
                </a:lnTo>
                <a:lnTo>
                  <a:pt x="1194" y="138"/>
                </a:lnTo>
                <a:lnTo>
                  <a:pt x="1200" y="138"/>
                </a:lnTo>
                <a:lnTo>
                  <a:pt x="1194" y="138"/>
                </a:lnTo>
                <a:lnTo>
                  <a:pt x="1194" y="144"/>
                </a:lnTo>
                <a:lnTo>
                  <a:pt x="1188" y="144"/>
                </a:lnTo>
                <a:lnTo>
                  <a:pt x="1188" y="150"/>
                </a:lnTo>
                <a:lnTo>
                  <a:pt x="1182" y="150"/>
                </a:lnTo>
                <a:lnTo>
                  <a:pt x="1176" y="150"/>
                </a:lnTo>
                <a:lnTo>
                  <a:pt x="1176" y="156"/>
                </a:lnTo>
                <a:lnTo>
                  <a:pt x="1182" y="156"/>
                </a:lnTo>
                <a:lnTo>
                  <a:pt x="1182" y="162"/>
                </a:lnTo>
                <a:lnTo>
                  <a:pt x="1182" y="168"/>
                </a:lnTo>
                <a:lnTo>
                  <a:pt x="1182" y="174"/>
                </a:lnTo>
                <a:lnTo>
                  <a:pt x="1182" y="180"/>
                </a:lnTo>
                <a:lnTo>
                  <a:pt x="1182" y="186"/>
                </a:lnTo>
                <a:lnTo>
                  <a:pt x="1182" y="192"/>
                </a:lnTo>
                <a:lnTo>
                  <a:pt x="1188" y="192"/>
                </a:lnTo>
                <a:lnTo>
                  <a:pt x="1194" y="192"/>
                </a:lnTo>
                <a:lnTo>
                  <a:pt x="1200" y="192"/>
                </a:lnTo>
                <a:lnTo>
                  <a:pt x="1200" y="198"/>
                </a:lnTo>
                <a:lnTo>
                  <a:pt x="1200" y="204"/>
                </a:lnTo>
                <a:lnTo>
                  <a:pt x="1206" y="204"/>
                </a:lnTo>
                <a:lnTo>
                  <a:pt x="1206" y="210"/>
                </a:lnTo>
                <a:lnTo>
                  <a:pt x="1206" y="216"/>
                </a:lnTo>
                <a:lnTo>
                  <a:pt x="1206" y="222"/>
                </a:lnTo>
                <a:lnTo>
                  <a:pt x="1206" y="228"/>
                </a:lnTo>
                <a:lnTo>
                  <a:pt x="1206" y="234"/>
                </a:lnTo>
                <a:lnTo>
                  <a:pt x="1200" y="234"/>
                </a:lnTo>
                <a:lnTo>
                  <a:pt x="1200" y="240"/>
                </a:lnTo>
                <a:lnTo>
                  <a:pt x="1194" y="240"/>
                </a:lnTo>
                <a:lnTo>
                  <a:pt x="1194" y="246"/>
                </a:lnTo>
                <a:lnTo>
                  <a:pt x="1194" y="240"/>
                </a:lnTo>
                <a:lnTo>
                  <a:pt x="1194" y="246"/>
                </a:lnTo>
                <a:lnTo>
                  <a:pt x="1188" y="246"/>
                </a:lnTo>
                <a:lnTo>
                  <a:pt x="1182" y="246"/>
                </a:lnTo>
                <a:lnTo>
                  <a:pt x="1176" y="246"/>
                </a:lnTo>
                <a:lnTo>
                  <a:pt x="1176" y="252"/>
                </a:lnTo>
                <a:lnTo>
                  <a:pt x="1170" y="252"/>
                </a:lnTo>
                <a:lnTo>
                  <a:pt x="1164" y="252"/>
                </a:lnTo>
                <a:lnTo>
                  <a:pt x="1164" y="258"/>
                </a:lnTo>
                <a:lnTo>
                  <a:pt x="1158" y="258"/>
                </a:lnTo>
                <a:lnTo>
                  <a:pt x="1152" y="258"/>
                </a:lnTo>
                <a:lnTo>
                  <a:pt x="1152" y="264"/>
                </a:lnTo>
                <a:lnTo>
                  <a:pt x="1152" y="270"/>
                </a:lnTo>
                <a:lnTo>
                  <a:pt x="1146" y="270"/>
                </a:lnTo>
                <a:lnTo>
                  <a:pt x="1146" y="276"/>
                </a:lnTo>
                <a:lnTo>
                  <a:pt x="1146" y="282"/>
                </a:lnTo>
                <a:lnTo>
                  <a:pt x="1152" y="282"/>
                </a:lnTo>
                <a:lnTo>
                  <a:pt x="1152" y="288"/>
                </a:lnTo>
                <a:lnTo>
                  <a:pt x="1158" y="288"/>
                </a:lnTo>
                <a:lnTo>
                  <a:pt x="1158" y="294"/>
                </a:lnTo>
                <a:lnTo>
                  <a:pt x="1152" y="294"/>
                </a:lnTo>
                <a:lnTo>
                  <a:pt x="1152" y="300"/>
                </a:lnTo>
                <a:lnTo>
                  <a:pt x="1152" y="306"/>
                </a:lnTo>
                <a:lnTo>
                  <a:pt x="1158" y="306"/>
                </a:lnTo>
                <a:lnTo>
                  <a:pt x="1164" y="306"/>
                </a:lnTo>
                <a:lnTo>
                  <a:pt x="1164" y="312"/>
                </a:lnTo>
                <a:lnTo>
                  <a:pt x="1164" y="318"/>
                </a:lnTo>
                <a:lnTo>
                  <a:pt x="1170" y="318"/>
                </a:lnTo>
                <a:lnTo>
                  <a:pt x="1170" y="324"/>
                </a:lnTo>
                <a:lnTo>
                  <a:pt x="1176" y="324"/>
                </a:lnTo>
                <a:lnTo>
                  <a:pt x="1176" y="330"/>
                </a:lnTo>
                <a:lnTo>
                  <a:pt x="1176" y="336"/>
                </a:lnTo>
                <a:lnTo>
                  <a:pt x="1182" y="336"/>
                </a:lnTo>
                <a:lnTo>
                  <a:pt x="1182" y="342"/>
                </a:lnTo>
                <a:lnTo>
                  <a:pt x="1182" y="348"/>
                </a:lnTo>
                <a:lnTo>
                  <a:pt x="1188" y="348"/>
                </a:lnTo>
                <a:lnTo>
                  <a:pt x="1188" y="354"/>
                </a:lnTo>
                <a:lnTo>
                  <a:pt x="1188" y="360"/>
                </a:lnTo>
                <a:lnTo>
                  <a:pt x="1188" y="366"/>
                </a:lnTo>
                <a:lnTo>
                  <a:pt x="1188" y="372"/>
                </a:lnTo>
                <a:lnTo>
                  <a:pt x="1188" y="378"/>
                </a:lnTo>
                <a:lnTo>
                  <a:pt x="1194" y="384"/>
                </a:lnTo>
                <a:lnTo>
                  <a:pt x="1194" y="378"/>
                </a:lnTo>
                <a:lnTo>
                  <a:pt x="1194" y="384"/>
                </a:lnTo>
                <a:lnTo>
                  <a:pt x="1200" y="384"/>
                </a:lnTo>
                <a:lnTo>
                  <a:pt x="1200" y="390"/>
                </a:lnTo>
                <a:lnTo>
                  <a:pt x="1200" y="396"/>
                </a:lnTo>
                <a:lnTo>
                  <a:pt x="1194" y="396"/>
                </a:lnTo>
                <a:lnTo>
                  <a:pt x="1194" y="402"/>
                </a:lnTo>
                <a:lnTo>
                  <a:pt x="1194" y="408"/>
                </a:lnTo>
                <a:lnTo>
                  <a:pt x="1194" y="414"/>
                </a:lnTo>
                <a:lnTo>
                  <a:pt x="1194" y="420"/>
                </a:lnTo>
                <a:lnTo>
                  <a:pt x="1194" y="426"/>
                </a:lnTo>
                <a:lnTo>
                  <a:pt x="1194" y="432"/>
                </a:lnTo>
                <a:lnTo>
                  <a:pt x="1200" y="432"/>
                </a:lnTo>
                <a:lnTo>
                  <a:pt x="1194" y="432"/>
                </a:lnTo>
                <a:lnTo>
                  <a:pt x="1194" y="438"/>
                </a:lnTo>
                <a:lnTo>
                  <a:pt x="1200" y="438"/>
                </a:lnTo>
                <a:lnTo>
                  <a:pt x="1200" y="444"/>
                </a:lnTo>
                <a:lnTo>
                  <a:pt x="1200" y="450"/>
                </a:lnTo>
                <a:lnTo>
                  <a:pt x="1200" y="456"/>
                </a:lnTo>
                <a:lnTo>
                  <a:pt x="1194" y="456"/>
                </a:lnTo>
                <a:lnTo>
                  <a:pt x="1200" y="456"/>
                </a:lnTo>
                <a:lnTo>
                  <a:pt x="1206" y="456"/>
                </a:lnTo>
                <a:lnTo>
                  <a:pt x="1206" y="450"/>
                </a:lnTo>
                <a:lnTo>
                  <a:pt x="1200" y="450"/>
                </a:lnTo>
                <a:lnTo>
                  <a:pt x="1206" y="450"/>
                </a:lnTo>
                <a:lnTo>
                  <a:pt x="1200" y="450"/>
                </a:lnTo>
                <a:lnTo>
                  <a:pt x="1200" y="444"/>
                </a:lnTo>
                <a:lnTo>
                  <a:pt x="1206" y="444"/>
                </a:lnTo>
                <a:lnTo>
                  <a:pt x="1206" y="438"/>
                </a:lnTo>
                <a:lnTo>
                  <a:pt x="1206" y="444"/>
                </a:lnTo>
                <a:lnTo>
                  <a:pt x="1212" y="444"/>
                </a:lnTo>
                <a:lnTo>
                  <a:pt x="1212" y="438"/>
                </a:lnTo>
                <a:lnTo>
                  <a:pt x="1218" y="444"/>
                </a:lnTo>
                <a:lnTo>
                  <a:pt x="1218" y="450"/>
                </a:lnTo>
                <a:lnTo>
                  <a:pt x="1224" y="456"/>
                </a:lnTo>
                <a:lnTo>
                  <a:pt x="1230" y="456"/>
                </a:lnTo>
                <a:lnTo>
                  <a:pt x="1236" y="462"/>
                </a:lnTo>
                <a:lnTo>
                  <a:pt x="1236" y="468"/>
                </a:lnTo>
                <a:lnTo>
                  <a:pt x="1236" y="474"/>
                </a:lnTo>
                <a:lnTo>
                  <a:pt x="1230" y="474"/>
                </a:lnTo>
                <a:lnTo>
                  <a:pt x="1224" y="474"/>
                </a:lnTo>
                <a:lnTo>
                  <a:pt x="1224" y="480"/>
                </a:lnTo>
                <a:lnTo>
                  <a:pt x="1230" y="480"/>
                </a:lnTo>
                <a:lnTo>
                  <a:pt x="1236" y="480"/>
                </a:lnTo>
                <a:lnTo>
                  <a:pt x="1236" y="486"/>
                </a:lnTo>
                <a:lnTo>
                  <a:pt x="1242" y="486"/>
                </a:lnTo>
                <a:lnTo>
                  <a:pt x="1242" y="492"/>
                </a:lnTo>
                <a:lnTo>
                  <a:pt x="1254" y="498"/>
                </a:lnTo>
                <a:lnTo>
                  <a:pt x="1260" y="498"/>
                </a:lnTo>
                <a:lnTo>
                  <a:pt x="1266" y="498"/>
                </a:lnTo>
                <a:lnTo>
                  <a:pt x="1272" y="504"/>
                </a:lnTo>
                <a:lnTo>
                  <a:pt x="1272" y="510"/>
                </a:lnTo>
                <a:lnTo>
                  <a:pt x="1278" y="510"/>
                </a:lnTo>
                <a:lnTo>
                  <a:pt x="1284" y="510"/>
                </a:lnTo>
                <a:lnTo>
                  <a:pt x="1284" y="516"/>
                </a:lnTo>
                <a:lnTo>
                  <a:pt x="1284" y="522"/>
                </a:lnTo>
                <a:lnTo>
                  <a:pt x="1278" y="528"/>
                </a:lnTo>
                <a:lnTo>
                  <a:pt x="1272" y="528"/>
                </a:lnTo>
                <a:lnTo>
                  <a:pt x="1266" y="528"/>
                </a:lnTo>
                <a:lnTo>
                  <a:pt x="1260" y="528"/>
                </a:lnTo>
                <a:lnTo>
                  <a:pt x="1254" y="528"/>
                </a:lnTo>
                <a:lnTo>
                  <a:pt x="1248" y="528"/>
                </a:lnTo>
                <a:lnTo>
                  <a:pt x="1248" y="534"/>
                </a:lnTo>
                <a:lnTo>
                  <a:pt x="1242" y="534"/>
                </a:lnTo>
                <a:lnTo>
                  <a:pt x="1242" y="540"/>
                </a:lnTo>
                <a:lnTo>
                  <a:pt x="1242" y="546"/>
                </a:lnTo>
                <a:lnTo>
                  <a:pt x="1242" y="552"/>
                </a:lnTo>
                <a:lnTo>
                  <a:pt x="1242" y="558"/>
                </a:lnTo>
                <a:lnTo>
                  <a:pt x="1248" y="564"/>
                </a:lnTo>
                <a:lnTo>
                  <a:pt x="1242" y="564"/>
                </a:lnTo>
                <a:lnTo>
                  <a:pt x="1242" y="570"/>
                </a:lnTo>
                <a:lnTo>
                  <a:pt x="1248" y="570"/>
                </a:lnTo>
                <a:lnTo>
                  <a:pt x="1254" y="576"/>
                </a:lnTo>
                <a:lnTo>
                  <a:pt x="1260" y="576"/>
                </a:lnTo>
                <a:lnTo>
                  <a:pt x="1260" y="588"/>
                </a:lnTo>
                <a:lnTo>
                  <a:pt x="1260" y="594"/>
                </a:lnTo>
                <a:lnTo>
                  <a:pt x="1266" y="594"/>
                </a:lnTo>
                <a:lnTo>
                  <a:pt x="1272" y="594"/>
                </a:lnTo>
                <a:lnTo>
                  <a:pt x="1278" y="588"/>
                </a:lnTo>
                <a:lnTo>
                  <a:pt x="1278" y="594"/>
                </a:lnTo>
                <a:lnTo>
                  <a:pt x="1278" y="600"/>
                </a:lnTo>
                <a:lnTo>
                  <a:pt x="1278" y="606"/>
                </a:lnTo>
                <a:lnTo>
                  <a:pt x="1278" y="612"/>
                </a:lnTo>
                <a:lnTo>
                  <a:pt x="1272" y="606"/>
                </a:lnTo>
                <a:lnTo>
                  <a:pt x="1266" y="612"/>
                </a:lnTo>
                <a:lnTo>
                  <a:pt x="1260" y="618"/>
                </a:lnTo>
                <a:lnTo>
                  <a:pt x="1260" y="624"/>
                </a:lnTo>
                <a:lnTo>
                  <a:pt x="1254" y="624"/>
                </a:lnTo>
                <a:lnTo>
                  <a:pt x="1248" y="630"/>
                </a:lnTo>
                <a:lnTo>
                  <a:pt x="1242" y="630"/>
                </a:lnTo>
                <a:lnTo>
                  <a:pt x="1242" y="636"/>
                </a:lnTo>
                <a:lnTo>
                  <a:pt x="1242" y="642"/>
                </a:lnTo>
                <a:lnTo>
                  <a:pt x="1248" y="648"/>
                </a:lnTo>
                <a:lnTo>
                  <a:pt x="1248" y="654"/>
                </a:lnTo>
                <a:lnTo>
                  <a:pt x="1254" y="654"/>
                </a:lnTo>
                <a:lnTo>
                  <a:pt x="1254" y="660"/>
                </a:lnTo>
                <a:lnTo>
                  <a:pt x="1254" y="666"/>
                </a:lnTo>
                <a:lnTo>
                  <a:pt x="1254" y="672"/>
                </a:lnTo>
                <a:lnTo>
                  <a:pt x="1254" y="678"/>
                </a:lnTo>
                <a:lnTo>
                  <a:pt x="1260" y="684"/>
                </a:lnTo>
                <a:lnTo>
                  <a:pt x="1260" y="690"/>
                </a:lnTo>
                <a:lnTo>
                  <a:pt x="1260" y="696"/>
                </a:lnTo>
                <a:lnTo>
                  <a:pt x="1260" y="702"/>
                </a:lnTo>
                <a:lnTo>
                  <a:pt x="1266" y="702"/>
                </a:lnTo>
                <a:lnTo>
                  <a:pt x="1266" y="708"/>
                </a:lnTo>
                <a:lnTo>
                  <a:pt x="1260" y="708"/>
                </a:lnTo>
                <a:lnTo>
                  <a:pt x="1254" y="708"/>
                </a:lnTo>
                <a:lnTo>
                  <a:pt x="1254" y="714"/>
                </a:lnTo>
                <a:lnTo>
                  <a:pt x="1248" y="714"/>
                </a:lnTo>
                <a:lnTo>
                  <a:pt x="1248" y="720"/>
                </a:lnTo>
                <a:lnTo>
                  <a:pt x="1248" y="726"/>
                </a:lnTo>
                <a:lnTo>
                  <a:pt x="1242" y="726"/>
                </a:lnTo>
                <a:lnTo>
                  <a:pt x="1236" y="720"/>
                </a:lnTo>
                <a:lnTo>
                  <a:pt x="1230" y="720"/>
                </a:lnTo>
                <a:lnTo>
                  <a:pt x="1230" y="726"/>
                </a:lnTo>
                <a:lnTo>
                  <a:pt x="1230" y="732"/>
                </a:lnTo>
                <a:lnTo>
                  <a:pt x="1224" y="732"/>
                </a:lnTo>
                <a:lnTo>
                  <a:pt x="1218" y="732"/>
                </a:lnTo>
                <a:lnTo>
                  <a:pt x="1212" y="732"/>
                </a:lnTo>
                <a:lnTo>
                  <a:pt x="1212" y="738"/>
                </a:lnTo>
                <a:lnTo>
                  <a:pt x="1206" y="738"/>
                </a:lnTo>
                <a:lnTo>
                  <a:pt x="1206" y="744"/>
                </a:lnTo>
                <a:lnTo>
                  <a:pt x="1200" y="750"/>
                </a:lnTo>
                <a:lnTo>
                  <a:pt x="1200" y="756"/>
                </a:lnTo>
                <a:lnTo>
                  <a:pt x="1200" y="762"/>
                </a:lnTo>
                <a:lnTo>
                  <a:pt x="1200" y="768"/>
                </a:lnTo>
                <a:lnTo>
                  <a:pt x="1200" y="774"/>
                </a:lnTo>
                <a:lnTo>
                  <a:pt x="1200" y="780"/>
                </a:lnTo>
                <a:lnTo>
                  <a:pt x="1200" y="774"/>
                </a:lnTo>
                <a:lnTo>
                  <a:pt x="1194" y="780"/>
                </a:lnTo>
                <a:lnTo>
                  <a:pt x="1194" y="786"/>
                </a:lnTo>
                <a:lnTo>
                  <a:pt x="1194" y="792"/>
                </a:lnTo>
                <a:lnTo>
                  <a:pt x="1194" y="798"/>
                </a:lnTo>
                <a:lnTo>
                  <a:pt x="1194" y="804"/>
                </a:lnTo>
                <a:lnTo>
                  <a:pt x="1194" y="810"/>
                </a:lnTo>
                <a:lnTo>
                  <a:pt x="1200" y="810"/>
                </a:lnTo>
                <a:lnTo>
                  <a:pt x="1200" y="816"/>
                </a:lnTo>
                <a:lnTo>
                  <a:pt x="1194" y="816"/>
                </a:lnTo>
                <a:lnTo>
                  <a:pt x="1194" y="822"/>
                </a:lnTo>
                <a:lnTo>
                  <a:pt x="1188" y="822"/>
                </a:lnTo>
                <a:lnTo>
                  <a:pt x="1182" y="822"/>
                </a:lnTo>
                <a:lnTo>
                  <a:pt x="1176" y="828"/>
                </a:lnTo>
                <a:lnTo>
                  <a:pt x="1176" y="834"/>
                </a:lnTo>
                <a:lnTo>
                  <a:pt x="1170" y="834"/>
                </a:lnTo>
                <a:lnTo>
                  <a:pt x="1170" y="840"/>
                </a:lnTo>
                <a:lnTo>
                  <a:pt x="1164" y="846"/>
                </a:lnTo>
                <a:lnTo>
                  <a:pt x="1158" y="846"/>
                </a:lnTo>
                <a:lnTo>
                  <a:pt x="1152" y="846"/>
                </a:lnTo>
                <a:lnTo>
                  <a:pt x="1152" y="852"/>
                </a:lnTo>
                <a:lnTo>
                  <a:pt x="1146" y="852"/>
                </a:lnTo>
                <a:lnTo>
                  <a:pt x="1140" y="852"/>
                </a:lnTo>
                <a:lnTo>
                  <a:pt x="1134" y="852"/>
                </a:lnTo>
                <a:lnTo>
                  <a:pt x="1134" y="858"/>
                </a:lnTo>
                <a:lnTo>
                  <a:pt x="1128" y="858"/>
                </a:lnTo>
                <a:lnTo>
                  <a:pt x="1122" y="858"/>
                </a:lnTo>
                <a:lnTo>
                  <a:pt x="1116" y="858"/>
                </a:lnTo>
                <a:lnTo>
                  <a:pt x="1110" y="858"/>
                </a:lnTo>
                <a:lnTo>
                  <a:pt x="1104" y="858"/>
                </a:lnTo>
                <a:lnTo>
                  <a:pt x="1104" y="864"/>
                </a:lnTo>
                <a:lnTo>
                  <a:pt x="1098" y="864"/>
                </a:lnTo>
                <a:lnTo>
                  <a:pt x="1092" y="864"/>
                </a:lnTo>
                <a:lnTo>
                  <a:pt x="1086" y="858"/>
                </a:lnTo>
                <a:lnTo>
                  <a:pt x="1080" y="858"/>
                </a:lnTo>
                <a:lnTo>
                  <a:pt x="1080" y="852"/>
                </a:lnTo>
                <a:lnTo>
                  <a:pt x="1074" y="852"/>
                </a:lnTo>
                <a:lnTo>
                  <a:pt x="1068" y="864"/>
                </a:lnTo>
                <a:lnTo>
                  <a:pt x="1068" y="870"/>
                </a:lnTo>
                <a:lnTo>
                  <a:pt x="1068" y="876"/>
                </a:lnTo>
                <a:lnTo>
                  <a:pt x="1068" y="882"/>
                </a:lnTo>
                <a:lnTo>
                  <a:pt x="1074" y="882"/>
                </a:lnTo>
                <a:lnTo>
                  <a:pt x="1074" y="876"/>
                </a:lnTo>
                <a:lnTo>
                  <a:pt x="1080" y="876"/>
                </a:lnTo>
                <a:lnTo>
                  <a:pt x="1080" y="882"/>
                </a:lnTo>
                <a:lnTo>
                  <a:pt x="1080" y="876"/>
                </a:lnTo>
                <a:lnTo>
                  <a:pt x="1080" y="882"/>
                </a:lnTo>
                <a:lnTo>
                  <a:pt x="1074" y="882"/>
                </a:lnTo>
                <a:lnTo>
                  <a:pt x="1074" y="888"/>
                </a:lnTo>
                <a:lnTo>
                  <a:pt x="1080" y="906"/>
                </a:lnTo>
                <a:lnTo>
                  <a:pt x="1080" y="912"/>
                </a:lnTo>
                <a:lnTo>
                  <a:pt x="1086" y="912"/>
                </a:lnTo>
                <a:lnTo>
                  <a:pt x="1086" y="918"/>
                </a:lnTo>
                <a:lnTo>
                  <a:pt x="1086" y="924"/>
                </a:lnTo>
                <a:lnTo>
                  <a:pt x="1086" y="918"/>
                </a:lnTo>
                <a:lnTo>
                  <a:pt x="1086" y="924"/>
                </a:lnTo>
                <a:lnTo>
                  <a:pt x="1092" y="924"/>
                </a:lnTo>
                <a:lnTo>
                  <a:pt x="1092" y="930"/>
                </a:lnTo>
                <a:lnTo>
                  <a:pt x="1092" y="936"/>
                </a:lnTo>
                <a:lnTo>
                  <a:pt x="1098" y="936"/>
                </a:lnTo>
                <a:lnTo>
                  <a:pt x="1098" y="930"/>
                </a:lnTo>
                <a:lnTo>
                  <a:pt x="1098" y="936"/>
                </a:lnTo>
                <a:lnTo>
                  <a:pt x="1104" y="936"/>
                </a:lnTo>
                <a:lnTo>
                  <a:pt x="1110" y="936"/>
                </a:lnTo>
                <a:lnTo>
                  <a:pt x="1110" y="942"/>
                </a:lnTo>
                <a:lnTo>
                  <a:pt x="1116" y="948"/>
                </a:lnTo>
                <a:lnTo>
                  <a:pt x="1122" y="948"/>
                </a:lnTo>
                <a:lnTo>
                  <a:pt x="1122" y="954"/>
                </a:lnTo>
                <a:lnTo>
                  <a:pt x="1128" y="954"/>
                </a:lnTo>
                <a:lnTo>
                  <a:pt x="1134" y="954"/>
                </a:lnTo>
                <a:lnTo>
                  <a:pt x="1140" y="954"/>
                </a:lnTo>
                <a:lnTo>
                  <a:pt x="1140" y="948"/>
                </a:lnTo>
                <a:lnTo>
                  <a:pt x="1140" y="954"/>
                </a:lnTo>
                <a:lnTo>
                  <a:pt x="1140" y="960"/>
                </a:lnTo>
                <a:lnTo>
                  <a:pt x="1146" y="960"/>
                </a:lnTo>
                <a:lnTo>
                  <a:pt x="1152" y="960"/>
                </a:lnTo>
                <a:lnTo>
                  <a:pt x="1158" y="960"/>
                </a:lnTo>
                <a:lnTo>
                  <a:pt x="1164" y="960"/>
                </a:lnTo>
                <a:lnTo>
                  <a:pt x="1164" y="966"/>
                </a:lnTo>
                <a:lnTo>
                  <a:pt x="1164" y="972"/>
                </a:lnTo>
                <a:lnTo>
                  <a:pt x="1170" y="972"/>
                </a:lnTo>
                <a:lnTo>
                  <a:pt x="1170" y="978"/>
                </a:lnTo>
                <a:lnTo>
                  <a:pt x="1176" y="978"/>
                </a:lnTo>
                <a:lnTo>
                  <a:pt x="1176" y="984"/>
                </a:lnTo>
                <a:lnTo>
                  <a:pt x="1182" y="984"/>
                </a:lnTo>
                <a:lnTo>
                  <a:pt x="1188" y="984"/>
                </a:lnTo>
                <a:lnTo>
                  <a:pt x="1194" y="984"/>
                </a:lnTo>
                <a:lnTo>
                  <a:pt x="1194" y="990"/>
                </a:lnTo>
                <a:lnTo>
                  <a:pt x="1200" y="990"/>
                </a:lnTo>
                <a:lnTo>
                  <a:pt x="1200" y="996"/>
                </a:lnTo>
                <a:lnTo>
                  <a:pt x="1206" y="996"/>
                </a:lnTo>
                <a:lnTo>
                  <a:pt x="1200" y="996"/>
                </a:lnTo>
                <a:lnTo>
                  <a:pt x="1200" y="1002"/>
                </a:lnTo>
                <a:lnTo>
                  <a:pt x="1194" y="1002"/>
                </a:lnTo>
                <a:lnTo>
                  <a:pt x="1188" y="1002"/>
                </a:lnTo>
                <a:lnTo>
                  <a:pt x="1188" y="1008"/>
                </a:lnTo>
                <a:lnTo>
                  <a:pt x="1182" y="1008"/>
                </a:lnTo>
                <a:lnTo>
                  <a:pt x="1182" y="1014"/>
                </a:lnTo>
                <a:lnTo>
                  <a:pt x="1182" y="1020"/>
                </a:lnTo>
                <a:lnTo>
                  <a:pt x="1176" y="1020"/>
                </a:lnTo>
                <a:lnTo>
                  <a:pt x="1176" y="1026"/>
                </a:lnTo>
                <a:lnTo>
                  <a:pt x="1176" y="1032"/>
                </a:lnTo>
                <a:lnTo>
                  <a:pt x="1170" y="1038"/>
                </a:lnTo>
                <a:lnTo>
                  <a:pt x="1170" y="1044"/>
                </a:lnTo>
                <a:lnTo>
                  <a:pt x="1170" y="1050"/>
                </a:lnTo>
                <a:lnTo>
                  <a:pt x="1176" y="1050"/>
                </a:lnTo>
                <a:lnTo>
                  <a:pt x="1176" y="1056"/>
                </a:lnTo>
                <a:lnTo>
                  <a:pt x="1182" y="1062"/>
                </a:lnTo>
                <a:lnTo>
                  <a:pt x="1176" y="1062"/>
                </a:lnTo>
                <a:lnTo>
                  <a:pt x="1170" y="1062"/>
                </a:lnTo>
                <a:lnTo>
                  <a:pt x="1164" y="1062"/>
                </a:lnTo>
                <a:lnTo>
                  <a:pt x="1164" y="1056"/>
                </a:lnTo>
                <a:lnTo>
                  <a:pt x="1164" y="1050"/>
                </a:lnTo>
                <a:lnTo>
                  <a:pt x="1158" y="1050"/>
                </a:lnTo>
                <a:lnTo>
                  <a:pt x="1152" y="1050"/>
                </a:lnTo>
                <a:lnTo>
                  <a:pt x="1146" y="1050"/>
                </a:lnTo>
                <a:lnTo>
                  <a:pt x="1140" y="1050"/>
                </a:lnTo>
                <a:lnTo>
                  <a:pt x="1140" y="1056"/>
                </a:lnTo>
                <a:lnTo>
                  <a:pt x="1140" y="1062"/>
                </a:lnTo>
                <a:lnTo>
                  <a:pt x="1134" y="1062"/>
                </a:lnTo>
                <a:lnTo>
                  <a:pt x="1128" y="1062"/>
                </a:lnTo>
                <a:lnTo>
                  <a:pt x="1128" y="1068"/>
                </a:lnTo>
                <a:lnTo>
                  <a:pt x="1128" y="1074"/>
                </a:lnTo>
                <a:lnTo>
                  <a:pt x="1128" y="1080"/>
                </a:lnTo>
                <a:lnTo>
                  <a:pt x="1128" y="1086"/>
                </a:lnTo>
                <a:lnTo>
                  <a:pt x="1122" y="1086"/>
                </a:lnTo>
                <a:lnTo>
                  <a:pt x="1122" y="1092"/>
                </a:lnTo>
                <a:lnTo>
                  <a:pt x="1122" y="1098"/>
                </a:lnTo>
                <a:lnTo>
                  <a:pt x="1116" y="1098"/>
                </a:lnTo>
                <a:lnTo>
                  <a:pt x="1116" y="1104"/>
                </a:lnTo>
                <a:lnTo>
                  <a:pt x="1110" y="1104"/>
                </a:lnTo>
                <a:lnTo>
                  <a:pt x="1104" y="1104"/>
                </a:lnTo>
                <a:lnTo>
                  <a:pt x="1098" y="1104"/>
                </a:lnTo>
                <a:lnTo>
                  <a:pt x="1098" y="1110"/>
                </a:lnTo>
                <a:lnTo>
                  <a:pt x="1092" y="1110"/>
                </a:lnTo>
                <a:lnTo>
                  <a:pt x="1092" y="1116"/>
                </a:lnTo>
                <a:lnTo>
                  <a:pt x="1086" y="1116"/>
                </a:lnTo>
                <a:lnTo>
                  <a:pt x="1086" y="1122"/>
                </a:lnTo>
                <a:lnTo>
                  <a:pt x="1086" y="1116"/>
                </a:lnTo>
                <a:lnTo>
                  <a:pt x="1080" y="1116"/>
                </a:lnTo>
                <a:lnTo>
                  <a:pt x="1080" y="1110"/>
                </a:lnTo>
                <a:lnTo>
                  <a:pt x="1074" y="1110"/>
                </a:lnTo>
                <a:lnTo>
                  <a:pt x="1068" y="1110"/>
                </a:lnTo>
                <a:lnTo>
                  <a:pt x="1068" y="1116"/>
                </a:lnTo>
                <a:lnTo>
                  <a:pt x="1068" y="1122"/>
                </a:lnTo>
                <a:lnTo>
                  <a:pt x="1068" y="1128"/>
                </a:lnTo>
                <a:lnTo>
                  <a:pt x="1068" y="1134"/>
                </a:lnTo>
                <a:lnTo>
                  <a:pt x="1068" y="1140"/>
                </a:lnTo>
                <a:lnTo>
                  <a:pt x="1062" y="1140"/>
                </a:lnTo>
                <a:lnTo>
                  <a:pt x="1056" y="1140"/>
                </a:lnTo>
                <a:lnTo>
                  <a:pt x="1056" y="1146"/>
                </a:lnTo>
                <a:lnTo>
                  <a:pt x="1056" y="1152"/>
                </a:lnTo>
                <a:lnTo>
                  <a:pt x="1050" y="1152"/>
                </a:lnTo>
                <a:lnTo>
                  <a:pt x="1050" y="1158"/>
                </a:lnTo>
                <a:lnTo>
                  <a:pt x="1050" y="1164"/>
                </a:lnTo>
                <a:lnTo>
                  <a:pt x="1056" y="1164"/>
                </a:lnTo>
                <a:lnTo>
                  <a:pt x="1056" y="1170"/>
                </a:lnTo>
                <a:lnTo>
                  <a:pt x="1056" y="1176"/>
                </a:lnTo>
                <a:lnTo>
                  <a:pt x="1056" y="1182"/>
                </a:lnTo>
                <a:lnTo>
                  <a:pt x="1056" y="1188"/>
                </a:lnTo>
                <a:lnTo>
                  <a:pt x="1050" y="1188"/>
                </a:lnTo>
                <a:lnTo>
                  <a:pt x="1050" y="1194"/>
                </a:lnTo>
                <a:lnTo>
                  <a:pt x="1044" y="1194"/>
                </a:lnTo>
                <a:lnTo>
                  <a:pt x="1044" y="1200"/>
                </a:lnTo>
                <a:lnTo>
                  <a:pt x="1038" y="1200"/>
                </a:lnTo>
                <a:lnTo>
                  <a:pt x="1038" y="1206"/>
                </a:lnTo>
                <a:lnTo>
                  <a:pt x="1038" y="1212"/>
                </a:lnTo>
                <a:lnTo>
                  <a:pt x="1032" y="1212"/>
                </a:lnTo>
                <a:lnTo>
                  <a:pt x="1026" y="1212"/>
                </a:lnTo>
                <a:lnTo>
                  <a:pt x="1026" y="1206"/>
                </a:lnTo>
                <a:lnTo>
                  <a:pt x="1020" y="1206"/>
                </a:lnTo>
                <a:lnTo>
                  <a:pt x="1014" y="1206"/>
                </a:lnTo>
                <a:lnTo>
                  <a:pt x="1008" y="1206"/>
                </a:lnTo>
                <a:lnTo>
                  <a:pt x="1008" y="1212"/>
                </a:lnTo>
                <a:lnTo>
                  <a:pt x="1002" y="1212"/>
                </a:lnTo>
                <a:lnTo>
                  <a:pt x="996" y="1218"/>
                </a:lnTo>
                <a:lnTo>
                  <a:pt x="990" y="1218"/>
                </a:lnTo>
                <a:lnTo>
                  <a:pt x="984" y="1218"/>
                </a:lnTo>
                <a:lnTo>
                  <a:pt x="978" y="1224"/>
                </a:lnTo>
                <a:lnTo>
                  <a:pt x="972" y="1224"/>
                </a:lnTo>
                <a:lnTo>
                  <a:pt x="972" y="1230"/>
                </a:lnTo>
                <a:lnTo>
                  <a:pt x="966" y="1230"/>
                </a:lnTo>
                <a:lnTo>
                  <a:pt x="966" y="1236"/>
                </a:lnTo>
                <a:lnTo>
                  <a:pt x="960" y="1236"/>
                </a:lnTo>
                <a:lnTo>
                  <a:pt x="960" y="1242"/>
                </a:lnTo>
                <a:lnTo>
                  <a:pt x="954" y="1242"/>
                </a:lnTo>
                <a:lnTo>
                  <a:pt x="948" y="1236"/>
                </a:lnTo>
                <a:lnTo>
                  <a:pt x="942" y="1236"/>
                </a:lnTo>
                <a:lnTo>
                  <a:pt x="936" y="1236"/>
                </a:lnTo>
                <a:lnTo>
                  <a:pt x="930" y="1236"/>
                </a:lnTo>
                <a:lnTo>
                  <a:pt x="924" y="1236"/>
                </a:lnTo>
                <a:lnTo>
                  <a:pt x="918" y="1236"/>
                </a:lnTo>
                <a:lnTo>
                  <a:pt x="918" y="1230"/>
                </a:lnTo>
                <a:lnTo>
                  <a:pt x="912" y="1230"/>
                </a:lnTo>
                <a:lnTo>
                  <a:pt x="906" y="1230"/>
                </a:lnTo>
                <a:lnTo>
                  <a:pt x="906" y="1224"/>
                </a:lnTo>
                <a:lnTo>
                  <a:pt x="900" y="1224"/>
                </a:lnTo>
                <a:lnTo>
                  <a:pt x="900" y="1230"/>
                </a:lnTo>
                <a:lnTo>
                  <a:pt x="894" y="1224"/>
                </a:lnTo>
                <a:lnTo>
                  <a:pt x="888" y="1224"/>
                </a:lnTo>
                <a:lnTo>
                  <a:pt x="882" y="1224"/>
                </a:lnTo>
                <a:lnTo>
                  <a:pt x="876" y="1224"/>
                </a:lnTo>
                <a:lnTo>
                  <a:pt x="876" y="1218"/>
                </a:lnTo>
                <a:lnTo>
                  <a:pt x="882" y="1218"/>
                </a:lnTo>
                <a:lnTo>
                  <a:pt x="882" y="1212"/>
                </a:lnTo>
                <a:lnTo>
                  <a:pt x="888" y="1212"/>
                </a:lnTo>
                <a:lnTo>
                  <a:pt x="888" y="1218"/>
                </a:lnTo>
                <a:lnTo>
                  <a:pt x="888" y="1212"/>
                </a:lnTo>
                <a:lnTo>
                  <a:pt x="888" y="1206"/>
                </a:lnTo>
                <a:lnTo>
                  <a:pt x="888" y="1200"/>
                </a:lnTo>
                <a:lnTo>
                  <a:pt x="888" y="1194"/>
                </a:lnTo>
                <a:lnTo>
                  <a:pt x="888" y="1188"/>
                </a:lnTo>
                <a:lnTo>
                  <a:pt x="888" y="1182"/>
                </a:lnTo>
                <a:lnTo>
                  <a:pt x="882" y="1182"/>
                </a:lnTo>
                <a:lnTo>
                  <a:pt x="882" y="1188"/>
                </a:lnTo>
                <a:lnTo>
                  <a:pt x="882" y="1182"/>
                </a:lnTo>
                <a:lnTo>
                  <a:pt x="882" y="1176"/>
                </a:lnTo>
                <a:lnTo>
                  <a:pt x="882" y="1170"/>
                </a:lnTo>
                <a:lnTo>
                  <a:pt x="870" y="1170"/>
                </a:lnTo>
                <a:lnTo>
                  <a:pt x="858" y="1164"/>
                </a:lnTo>
                <a:lnTo>
                  <a:pt x="852" y="1164"/>
                </a:lnTo>
                <a:lnTo>
                  <a:pt x="846" y="1164"/>
                </a:lnTo>
                <a:lnTo>
                  <a:pt x="840" y="1164"/>
                </a:lnTo>
                <a:lnTo>
                  <a:pt x="834" y="1164"/>
                </a:lnTo>
                <a:lnTo>
                  <a:pt x="828" y="1164"/>
                </a:lnTo>
                <a:lnTo>
                  <a:pt x="822" y="1164"/>
                </a:lnTo>
                <a:lnTo>
                  <a:pt x="822" y="1170"/>
                </a:lnTo>
                <a:lnTo>
                  <a:pt x="816" y="1170"/>
                </a:lnTo>
                <a:lnTo>
                  <a:pt x="816" y="1176"/>
                </a:lnTo>
                <a:lnTo>
                  <a:pt x="822" y="1176"/>
                </a:lnTo>
                <a:lnTo>
                  <a:pt x="822" y="1188"/>
                </a:lnTo>
                <a:lnTo>
                  <a:pt x="816" y="1194"/>
                </a:lnTo>
                <a:lnTo>
                  <a:pt x="810" y="1194"/>
                </a:lnTo>
                <a:lnTo>
                  <a:pt x="804" y="1194"/>
                </a:lnTo>
                <a:lnTo>
                  <a:pt x="804" y="1200"/>
                </a:lnTo>
                <a:lnTo>
                  <a:pt x="798" y="1200"/>
                </a:lnTo>
                <a:lnTo>
                  <a:pt x="804" y="1206"/>
                </a:lnTo>
                <a:lnTo>
                  <a:pt x="804" y="1212"/>
                </a:lnTo>
                <a:lnTo>
                  <a:pt x="798" y="1212"/>
                </a:lnTo>
                <a:lnTo>
                  <a:pt x="798" y="1218"/>
                </a:lnTo>
                <a:lnTo>
                  <a:pt x="792" y="1218"/>
                </a:lnTo>
                <a:lnTo>
                  <a:pt x="786" y="1218"/>
                </a:lnTo>
                <a:lnTo>
                  <a:pt x="792" y="1218"/>
                </a:lnTo>
                <a:lnTo>
                  <a:pt x="792" y="1224"/>
                </a:lnTo>
                <a:lnTo>
                  <a:pt x="798" y="1224"/>
                </a:lnTo>
                <a:lnTo>
                  <a:pt x="798" y="1230"/>
                </a:lnTo>
                <a:lnTo>
                  <a:pt x="792" y="1230"/>
                </a:lnTo>
                <a:lnTo>
                  <a:pt x="792" y="1236"/>
                </a:lnTo>
                <a:lnTo>
                  <a:pt x="786" y="1236"/>
                </a:lnTo>
                <a:lnTo>
                  <a:pt x="786" y="1242"/>
                </a:lnTo>
                <a:lnTo>
                  <a:pt x="780" y="1242"/>
                </a:lnTo>
                <a:lnTo>
                  <a:pt x="780" y="1248"/>
                </a:lnTo>
                <a:lnTo>
                  <a:pt x="786" y="1248"/>
                </a:lnTo>
                <a:lnTo>
                  <a:pt x="786" y="1254"/>
                </a:lnTo>
                <a:lnTo>
                  <a:pt x="786" y="1260"/>
                </a:lnTo>
                <a:lnTo>
                  <a:pt x="786" y="1266"/>
                </a:lnTo>
                <a:lnTo>
                  <a:pt x="780" y="1266"/>
                </a:lnTo>
                <a:lnTo>
                  <a:pt x="774" y="1266"/>
                </a:lnTo>
                <a:lnTo>
                  <a:pt x="774" y="1272"/>
                </a:lnTo>
                <a:lnTo>
                  <a:pt x="768" y="1272"/>
                </a:lnTo>
                <a:lnTo>
                  <a:pt x="768" y="1278"/>
                </a:lnTo>
                <a:lnTo>
                  <a:pt x="762" y="1278"/>
                </a:lnTo>
                <a:lnTo>
                  <a:pt x="756" y="1272"/>
                </a:lnTo>
                <a:lnTo>
                  <a:pt x="750" y="1272"/>
                </a:lnTo>
                <a:lnTo>
                  <a:pt x="750" y="1266"/>
                </a:lnTo>
                <a:lnTo>
                  <a:pt x="744" y="1272"/>
                </a:lnTo>
                <a:lnTo>
                  <a:pt x="738" y="1272"/>
                </a:lnTo>
                <a:lnTo>
                  <a:pt x="732" y="1278"/>
                </a:lnTo>
                <a:lnTo>
                  <a:pt x="726" y="1284"/>
                </a:lnTo>
                <a:lnTo>
                  <a:pt x="720" y="1284"/>
                </a:lnTo>
                <a:lnTo>
                  <a:pt x="714" y="1284"/>
                </a:lnTo>
                <a:lnTo>
                  <a:pt x="714" y="1290"/>
                </a:lnTo>
                <a:lnTo>
                  <a:pt x="714" y="1284"/>
                </a:lnTo>
                <a:lnTo>
                  <a:pt x="708" y="1284"/>
                </a:lnTo>
                <a:lnTo>
                  <a:pt x="702" y="1284"/>
                </a:lnTo>
                <a:lnTo>
                  <a:pt x="702" y="1278"/>
                </a:lnTo>
                <a:lnTo>
                  <a:pt x="696" y="1278"/>
                </a:lnTo>
                <a:lnTo>
                  <a:pt x="690" y="1278"/>
                </a:lnTo>
                <a:lnTo>
                  <a:pt x="690" y="1272"/>
                </a:lnTo>
                <a:lnTo>
                  <a:pt x="690" y="1266"/>
                </a:lnTo>
                <a:lnTo>
                  <a:pt x="684" y="1260"/>
                </a:lnTo>
                <a:lnTo>
                  <a:pt x="678" y="1260"/>
                </a:lnTo>
                <a:lnTo>
                  <a:pt x="678" y="1266"/>
                </a:lnTo>
                <a:lnTo>
                  <a:pt x="672" y="1266"/>
                </a:lnTo>
                <a:lnTo>
                  <a:pt x="672" y="1272"/>
                </a:lnTo>
                <a:lnTo>
                  <a:pt x="666" y="1272"/>
                </a:lnTo>
                <a:lnTo>
                  <a:pt x="660" y="1272"/>
                </a:lnTo>
                <a:lnTo>
                  <a:pt x="654" y="1272"/>
                </a:lnTo>
                <a:lnTo>
                  <a:pt x="654" y="1278"/>
                </a:lnTo>
                <a:lnTo>
                  <a:pt x="648" y="1278"/>
                </a:lnTo>
                <a:lnTo>
                  <a:pt x="642" y="1278"/>
                </a:lnTo>
                <a:lnTo>
                  <a:pt x="642" y="1284"/>
                </a:lnTo>
                <a:lnTo>
                  <a:pt x="636" y="1284"/>
                </a:lnTo>
                <a:lnTo>
                  <a:pt x="630" y="1284"/>
                </a:lnTo>
                <a:lnTo>
                  <a:pt x="624" y="1290"/>
                </a:lnTo>
                <a:lnTo>
                  <a:pt x="618" y="1290"/>
                </a:lnTo>
                <a:lnTo>
                  <a:pt x="618" y="1296"/>
                </a:lnTo>
                <a:lnTo>
                  <a:pt x="612" y="1296"/>
                </a:lnTo>
                <a:lnTo>
                  <a:pt x="612" y="1302"/>
                </a:lnTo>
                <a:lnTo>
                  <a:pt x="606" y="1302"/>
                </a:lnTo>
                <a:lnTo>
                  <a:pt x="606" y="1308"/>
                </a:lnTo>
                <a:lnTo>
                  <a:pt x="612" y="1308"/>
                </a:lnTo>
                <a:lnTo>
                  <a:pt x="606" y="1308"/>
                </a:lnTo>
                <a:lnTo>
                  <a:pt x="600" y="1314"/>
                </a:lnTo>
                <a:lnTo>
                  <a:pt x="600" y="1320"/>
                </a:lnTo>
                <a:lnTo>
                  <a:pt x="594" y="1320"/>
                </a:lnTo>
                <a:lnTo>
                  <a:pt x="594" y="1326"/>
                </a:lnTo>
                <a:lnTo>
                  <a:pt x="588" y="1326"/>
                </a:lnTo>
                <a:lnTo>
                  <a:pt x="588" y="1320"/>
                </a:lnTo>
                <a:lnTo>
                  <a:pt x="582" y="1320"/>
                </a:lnTo>
                <a:lnTo>
                  <a:pt x="576" y="1320"/>
                </a:lnTo>
                <a:lnTo>
                  <a:pt x="570" y="1314"/>
                </a:lnTo>
                <a:lnTo>
                  <a:pt x="564" y="1314"/>
                </a:lnTo>
                <a:lnTo>
                  <a:pt x="558" y="1314"/>
                </a:lnTo>
                <a:lnTo>
                  <a:pt x="558" y="1320"/>
                </a:lnTo>
                <a:lnTo>
                  <a:pt x="558" y="1326"/>
                </a:lnTo>
                <a:lnTo>
                  <a:pt x="564" y="1332"/>
                </a:lnTo>
                <a:lnTo>
                  <a:pt x="564" y="1338"/>
                </a:lnTo>
                <a:lnTo>
                  <a:pt x="570" y="1338"/>
                </a:lnTo>
                <a:lnTo>
                  <a:pt x="570" y="1344"/>
                </a:lnTo>
                <a:lnTo>
                  <a:pt x="576" y="1344"/>
                </a:lnTo>
                <a:lnTo>
                  <a:pt x="576" y="1350"/>
                </a:lnTo>
                <a:lnTo>
                  <a:pt x="576" y="1356"/>
                </a:lnTo>
                <a:lnTo>
                  <a:pt x="582" y="1356"/>
                </a:lnTo>
                <a:lnTo>
                  <a:pt x="582" y="1362"/>
                </a:lnTo>
                <a:lnTo>
                  <a:pt x="576" y="1362"/>
                </a:lnTo>
                <a:lnTo>
                  <a:pt x="570" y="1368"/>
                </a:lnTo>
                <a:lnTo>
                  <a:pt x="564" y="1368"/>
                </a:lnTo>
                <a:lnTo>
                  <a:pt x="558" y="1368"/>
                </a:lnTo>
                <a:lnTo>
                  <a:pt x="552" y="1374"/>
                </a:lnTo>
                <a:lnTo>
                  <a:pt x="546" y="1380"/>
                </a:lnTo>
                <a:lnTo>
                  <a:pt x="534" y="1386"/>
                </a:lnTo>
                <a:lnTo>
                  <a:pt x="528" y="1386"/>
                </a:lnTo>
                <a:lnTo>
                  <a:pt x="522" y="1392"/>
                </a:lnTo>
                <a:lnTo>
                  <a:pt x="516" y="1392"/>
                </a:lnTo>
                <a:lnTo>
                  <a:pt x="510" y="1392"/>
                </a:lnTo>
                <a:lnTo>
                  <a:pt x="510" y="1398"/>
                </a:lnTo>
                <a:lnTo>
                  <a:pt x="504" y="1398"/>
                </a:lnTo>
                <a:lnTo>
                  <a:pt x="504" y="1404"/>
                </a:lnTo>
                <a:lnTo>
                  <a:pt x="498" y="1404"/>
                </a:lnTo>
                <a:lnTo>
                  <a:pt x="492" y="1410"/>
                </a:lnTo>
                <a:lnTo>
                  <a:pt x="486" y="1410"/>
                </a:lnTo>
                <a:lnTo>
                  <a:pt x="480" y="1410"/>
                </a:lnTo>
                <a:lnTo>
                  <a:pt x="480" y="1416"/>
                </a:lnTo>
                <a:lnTo>
                  <a:pt x="474" y="1416"/>
                </a:lnTo>
                <a:lnTo>
                  <a:pt x="468" y="1416"/>
                </a:lnTo>
                <a:lnTo>
                  <a:pt x="462" y="1416"/>
                </a:lnTo>
                <a:lnTo>
                  <a:pt x="462" y="1410"/>
                </a:lnTo>
                <a:lnTo>
                  <a:pt x="456" y="1410"/>
                </a:lnTo>
                <a:lnTo>
                  <a:pt x="456" y="1404"/>
                </a:lnTo>
                <a:lnTo>
                  <a:pt x="450" y="1404"/>
                </a:lnTo>
                <a:lnTo>
                  <a:pt x="450" y="1398"/>
                </a:lnTo>
                <a:lnTo>
                  <a:pt x="444" y="1398"/>
                </a:lnTo>
                <a:lnTo>
                  <a:pt x="438" y="1398"/>
                </a:lnTo>
                <a:lnTo>
                  <a:pt x="438" y="1404"/>
                </a:lnTo>
                <a:lnTo>
                  <a:pt x="438" y="1410"/>
                </a:lnTo>
                <a:lnTo>
                  <a:pt x="432" y="1410"/>
                </a:lnTo>
                <a:lnTo>
                  <a:pt x="426" y="1410"/>
                </a:lnTo>
                <a:lnTo>
                  <a:pt x="426" y="1404"/>
                </a:lnTo>
                <a:lnTo>
                  <a:pt x="420" y="1404"/>
                </a:lnTo>
                <a:lnTo>
                  <a:pt x="420" y="1398"/>
                </a:lnTo>
                <a:lnTo>
                  <a:pt x="420" y="1392"/>
                </a:lnTo>
                <a:lnTo>
                  <a:pt x="414" y="1398"/>
                </a:lnTo>
                <a:lnTo>
                  <a:pt x="414" y="1392"/>
                </a:lnTo>
                <a:lnTo>
                  <a:pt x="408" y="1392"/>
                </a:lnTo>
                <a:lnTo>
                  <a:pt x="402" y="1392"/>
                </a:lnTo>
                <a:lnTo>
                  <a:pt x="402" y="1386"/>
                </a:lnTo>
                <a:lnTo>
                  <a:pt x="396" y="1386"/>
                </a:lnTo>
                <a:lnTo>
                  <a:pt x="390" y="1386"/>
                </a:lnTo>
                <a:lnTo>
                  <a:pt x="384" y="1386"/>
                </a:lnTo>
                <a:lnTo>
                  <a:pt x="378" y="1392"/>
                </a:lnTo>
                <a:lnTo>
                  <a:pt x="378" y="1398"/>
                </a:lnTo>
                <a:lnTo>
                  <a:pt x="378" y="1404"/>
                </a:lnTo>
                <a:lnTo>
                  <a:pt x="378" y="1410"/>
                </a:lnTo>
                <a:lnTo>
                  <a:pt x="384" y="1410"/>
                </a:lnTo>
                <a:lnTo>
                  <a:pt x="390" y="1410"/>
                </a:lnTo>
                <a:lnTo>
                  <a:pt x="390" y="1416"/>
                </a:lnTo>
                <a:lnTo>
                  <a:pt x="384" y="1422"/>
                </a:lnTo>
                <a:lnTo>
                  <a:pt x="384" y="1416"/>
                </a:lnTo>
                <a:lnTo>
                  <a:pt x="378" y="1416"/>
                </a:lnTo>
                <a:lnTo>
                  <a:pt x="372" y="1410"/>
                </a:lnTo>
                <a:lnTo>
                  <a:pt x="372" y="1416"/>
                </a:lnTo>
                <a:lnTo>
                  <a:pt x="366" y="1416"/>
                </a:lnTo>
                <a:lnTo>
                  <a:pt x="366" y="1422"/>
                </a:lnTo>
                <a:lnTo>
                  <a:pt x="372" y="1422"/>
                </a:lnTo>
                <a:lnTo>
                  <a:pt x="366" y="1428"/>
                </a:lnTo>
                <a:lnTo>
                  <a:pt x="366" y="1434"/>
                </a:lnTo>
                <a:lnTo>
                  <a:pt x="360" y="1434"/>
                </a:lnTo>
                <a:lnTo>
                  <a:pt x="360" y="1440"/>
                </a:lnTo>
                <a:lnTo>
                  <a:pt x="360" y="1446"/>
                </a:lnTo>
                <a:lnTo>
                  <a:pt x="366" y="1452"/>
                </a:lnTo>
                <a:lnTo>
                  <a:pt x="366" y="1458"/>
                </a:lnTo>
                <a:lnTo>
                  <a:pt x="366" y="1464"/>
                </a:lnTo>
                <a:lnTo>
                  <a:pt x="360" y="1464"/>
                </a:lnTo>
                <a:lnTo>
                  <a:pt x="360" y="1470"/>
                </a:lnTo>
                <a:lnTo>
                  <a:pt x="354" y="1470"/>
                </a:lnTo>
                <a:lnTo>
                  <a:pt x="348" y="1470"/>
                </a:lnTo>
                <a:lnTo>
                  <a:pt x="348" y="1476"/>
                </a:lnTo>
                <a:lnTo>
                  <a:pt x="342" y="1476"/>
                </a:lnTo>
                <a:lnTo>
                  <a:pt x="342" y="1482"/>
                </a:lnTo>
                <a:lnTo>
                  <a:pt x="336" y="1482"/>
                </a:lnTo>
                <a:lnTo>
                  <a:pt x="336" y="1488"/>
                </a:lnTo>
                <a:lnTo>
                  <a:pt x="336" y="1494"/>
                </a:lnTo>
                <a:lnTo>
                  <a:pt x="342" y="1494"/>
                </a:lnTo>
                <a:lnTo>
                  <a:pt x="342" y="1500"/>
                </a:lnTo>
                <a:lnTo>
                  <a:pt x="342" y="1506"/>
                </a:lnTo>
                <a:lnTo>
                  <a:pt x="342" y="1512"/>
                </a:lnTo>
                <a:lnTo>
                  <a:pt x="342" y="1518"/>
                </a:lnTo>
                <a:lnTo>
                  <a:pt x="342" y="1524"/>
                </a:lnTo>
                <a:lnTo>
                  <a:pt x="336" y="1524"/>
                </a:lnTo>
                <a:lnTo>
                  <a:pt x="336" y="1530"/>
                </a:lnTo>
                <a:lnTo>
                  <a:pt x="336" y="1536"/>
                </a:lnTo>
                <a:lnTo>
                  <a:pt x="336" y="1542"/>
                </a:lnTo>
                <a:lnTo>
                  <a:pt x="336" y="1548"/>
                </a:lnTo>
                <a:lnTo>
                  <a:pt x="330" y="1554"/>
                </a:lnTo>
                <a:lnTo>
                  <a:pt x="324" y="1554"/>
                </a:lnTo>
                <a:lnTo>
                  <a:pt x="318" y="1554"/>
                </a:lnTo>
                <a:lnTo>
                  <a:pt x="318" y="1560"/>
                </a:lnTo>
                <a:lnTo>
                  <a:pt x="318" y="1566"/>
                </a:lnTo>
                <a:lnTo>
                  <a:pt x="318" y="1572"/>
                </a:lnTo>
                <a:lnTo>
                  <a:pt x="318" y="1578"/>
                </a:lnTo>
                <a:lnTo>
                  <a:pt x="312" y="1578"/>
                </a:lnTo>
                <a:lnTo>
                  <a:pt x="312" y="1584"/>
                </a:lnTo>
                <a:lnTo>
                  <a:pt x="306" y="1584"/>
                </a:lnTo>
                <a:lnTo>
                  <a:pt x="300" y="1584"/>
                </a:lnTo>
                <a:lnTo>
                  <a:pt x="294" y="1584"/>
                </a:lnTo>
                <a:lnTo>
                  <a:pt x="288" y="1584"/>
                </a:lnTo>
                <a:lnTo>
                  <a:pt x="288" y="1578"/>
                </a:lnTo>
                <a:lnTo>
                  <a:pt x="282" y="1572"/>
                </a:lnTo>
                <a:lnTo>
                  <a:pt x="276" y="1572"/>
                </a:lnTo>
                <a:lnTo>
                  <a:pt x="276" y="1566"/>
                </a:lnTo>
                <a:lnTo>
                  <a:pt x="270" y="1566"/>
                </a:lnTo>
                <a:lnTo>
                  <a:pt x="264" y="1566"/>
                </a:lnTo>
                <a:lnTo>
                  <a:pt x="264" y="1572"/>
                </a:lnTo>
                <a:lnTo>
                  <a:pt x="258" y="1572"/>
                </a:lnTo>
                <a:lnTo>
                  <a:pt x="258" y="1578"/>
                </a:lnTo>
                <a:lnTo>
                  <a:pt x="252" y="1578"/>
                </a:lnTo>
                <a:lnTo>
                  <a:pt x="252" y="1584"/>
                </a:lnTo>
                <a:lnTo>
                  <a:pt x="246" y="1584"/>
                </a:lnTo>
                <a:lnTo>
                  <a:pt x="246" y="1590"/>
                </a:lnTo>
                <a:lnTo>
                  <a:pt x="246" y="1596"/>
                </a:lnTo>
                <a:lnTo>
                  <a:pt x="252" y="1596"/>
                </a:lnTo>
                <a:lnTo>
                  <a:pt x="252" y="1602"/>
                </a:lnTo>
                <a:lnTo>
                  <a:pt x="252" y="1608"/>
                </a:lnTo>
                <a:lnTo>
                  <a:pt x="246" y="1608"/>
                </a:lnTo>
                <a:lnTo>
                  <a:pt x="246" y="1602"/>
                </a:lnTo>
                <a:lnTo>
                  <a:pt x="240" y="1602"/>
                </a:lnTo>
                <a:lnTo>
                  <a:pt x="234" y="1602"/>
                </a:lnTo>
                <a:lnTo>
                  <a:pt x="234" y="1596"/>
                </a:lnTo>
                <a:lnTo>
                  <a:pt x="228" y="1596"/>
                </a:lnTo>
                <a:lnTo>
                  <a:pt x="222" y="1596"/>
                </a:lnTo>
                <a:lnTo>
                  <a:pt x="222" y="1590"/>
                </a:lnTo>
                <a:lnTo>
                  <a:pt x="216" y="1590"/>
                </a:lnTo>
                <a:lnTo>
                  <a:pt x="210" y="1590"/>
                </a:lnTo>
                <a:lnTo>
                  <a:pt x="210" y="1584"/>
                </a:lnTo>
                <a:lnTo>
                  <a:pt x="204" y="1584"/>
                </a:lnTo>
                <a:lnTo>
                  <a:pt x="204" y="1578"/>
                </a:lnTo>
                <a:lnTo>
                  <a:pt x="198" y="1578"/>
                </a:lnTo>
                <a:lnTo>
                  <a:pt x="192" y="1578"/>
                </a:lnTo>
                <a:lnTo>
                  <a:pt x="192" y="1572"/>
                </a:lnTo>
                <a:lnTo>
                  <a:pt x="186" y="1572"/>
                </a:lnTo>
                <a:lnTo>
                  <a:pt x="186" y="1566"/>
                </a:lnTo>
                <a:lnTo>
                  <a:pt x="186" y="1560"/>
                </a:lnTo>
                <a:lnTo>
                  <a:pt x="180" y="1560"/>
                </a:lnTo>
                <a:lnTo>
                  <a:pt x="174" y="1560"/>
                </a:lnTo>
                <a:lnTo>
                  <a:pt x="174" y="1554"/>
                </a:lnTo>
                <a:lnTo>
                  <a:pt x="168" y="1548"/>
                </a:lnTo>
                <a:lnTo>
                  <a:pt x="162" y="1542"/>
                </a:lnTo>
                <a:lnTo>
                  <a:pt x="162" y="1536"/>
                </a:lnTo>
                <a:lnTo>
                  <a:pt x="156" y="1536"/>
                </a:lnTo>
                <a:lnTo>
                  <a:pt x="156" y="1530"/>
                </a:lnTo>
                <a:lnTo>
                  <a:pt x="150" y="1530"/>
                </a:lnTo>
                <a:lnTo>
                  <a:pt x="150" y="1524"/>
                </a:lnTo>
                <a:lnTo>
                  <a:pt x="144" y="1524"/>
                </a:lnTo>
                <a:lnTo>
                  <a:pt x="144" y="1518"/>
                </a:lnTo>
                <a:lnTo>
                  <a:pt x="138" y="1518"/>
                </a:lnTo>
                <a:lnTo>
                  <a:pt x="138" y="1512"/>
                </a:lnTo>
                <a:lnTo>
                  <a:pt x="132" y="1512"/>
                </a:lnTo>
                <a:lnTo>
                  <a:pt x="132" y="1506"/>
                </a:lnTo>
                <a:lnTo>
                  <a:pt x="126" y="1506"/>
                </a:lnTo>
                <a:lnTo>
                  <a:pt x="120" y="1500"/>
                </a:lnTo>
                <a:lnTo>
                  <a:pt x="114" y="1500"/>
                </a:lnTo>
                <a:lnTo>
                  <a:pt x="108" y="1500"/>
                </a:lnTo>
                <a:lnTo>
                  <a:pt x="108" y="1494"/>
                </a:lnTo>
                <a:lnTo>
                  <a:pt x="102" y="1494"/>
                </a:lnTo>
                <a:lnTo>
                  <a:pt x="96" y="1494"/>
                </a:lnTo>
                <a:lnTo>
                  <a:pt x="96" y="1488"/>
                </a:lnTo>
                <a:lnTo>
                  <a:pt x="90" y="1488"/>
                </a:lnTo>
                <a:lnTo>
                  <a:pt x="90" y="1482"/>
                </a:lnTo>
                <a:lnTo>
                  <a:pt x="84" y="1482"/>
                </a:lnTo>
                <a:lnTo>
                  <a:pt x="84" y="1476"/>
                </a:lnTo>
                <a:lnTo>
                  <a:pt x="78" y="1476"/>
                </a:lnTo>
                <a:lnTo>
                  <a:pt x="78" y="1470"/>
                </a:lnTo>
                <a:lnTo>
                  <a:pt x="72" y="1470"/>
                </a:lnTo>
                <a:lnTo>
                  <a:pt x="72" y="1464"/>
                </a:lnTo>
                <a:lnTo>
                  <a:pt x="66" y="1464"/>
                </a:lnTo>
                <a:lnTo>
                  <a:pt x="66" y="1458"/>
                </a:lnTo>
                <a:lnTo>
                  <a:pt x="60" y="1458"/>
                </a:lnTo>
                <a:lnTo>
                  <a:pt x="54" y="1458"/>
                </a:lnTo>
                <a:lnTo>
                  <a:pt x="48" y="1458"/>
                </a:lnTo>
                <a:lnTo>
                  <a:pt x="42" y="1458"/>
                </a:lnTo>
                <a:lnTo>
                  <a:pt x="36" y="1458"/>
                </a:lnTo>
                <a:lnTo>
                  <a:pt x="30" y="1458"/>
                </a:lnTo>
                <a:lnTo>
                  <a:pt x="24" y="1452"/>
                </a:lnTo>
                <a:lnTo>
                  <a:pt x="18" y="1452"/>
                </a:lnTo>
                <a:lnTo>
                  <a:pt x="18" y="1446"/>
                </a:lnTo>
                <a:lnTo>
                  <a:pt x="18" y="1440"/>
                </a:lnTo>
                <a:lnTo>
                  <a:pt x="24" y="1434"/>
                </a:lnTo>
                <a:lnTo>
                  <a:pt x="24" y="1428"/>
                </a:lnTo>
                <a:lnTo>
                  <a:pt x="30" y="1428"/>
                </a:lnTo>
                <a:lnTo>
                  <a:pt x="30" y="1422"/>
                </a:lnTo>
                <a:lnTo>
                  <a:pt x="36" y="1416"/>
                </a:lnTo>
                <a:lnTo>
                  <a:pt x="36" y="1410"/>
                </a:lnTo>
                <a:lnTo>
                  <a:pt x="36" y="1404"/>
                </a:lnTo>
                <a:lnTo>
                  <a:pt x="36" y="1398"/>
                </a:lnTo>
                <a:lnTo>
                  <a:pt x="30" y="1398"/>
                </a:lnTo>
                <a:lnTo>
                  <a:pt x="30" y="1392"/>
                </a:lnTo>
                <a:lnTo>
                  <a:pt x="30" y="1386"/>
                </a:lnTo>
                <a:lnTo>
                  <a:pt x="30" y="1380"/>
                </a:lnTo>
                <a:lnTo>
                  <a:pt x="24" y="1380"/>
                </a:lnTo>
                <a:lnTo>
                  <a:pt x="24" y="1374"/>
                </a:lnTo>
                <a:lnTo>
                  <a:pt x="24" y="1368"/>
                </a:lnTo>
                <a:lnTo>
                  <a:pt x="24" y="1362"/>
                </a:lnTo>
                <a:lnTo>
                  <a:pt x="24" y="1356"/>
                </a:lnTo>
                <a:lnTo>
                  <a:pt x="24" y="1350"/>
                </a:lnTo>
                <a:lnTo>
                  <a:pt x="24" y="1344"/>
                </a:lnTo>
                <a:lnTo>
                  <a:pt x="30" y="1344"/>
                </a:lnTo>
                <a:lnTo>
                  <a:pt x="36" y="1344"/>
                </a:lnTo>
                <a:lnTo>
                  <a:pt x="36" y="1338"/>
                </a:lnTo>
                <a:lnTo>
                  <a:pt x="42" y="1338"/>
                </a:lnTo>
                <a:lnTo>
                  <a:pt x="42" y="1332"/>
                </a:lnTo>
                <a:lnTo>
                  <a:pt x="48" y="1332"/>
                </a:lnTo>
                <a:lnTo>
                  <a:pt x="48" y="1326"/>
                </a:lnTo>
                <a:lnTo>
                  <a:pt x="54" y="1326"/>
                </a:lnTo>
                <a:lnTo>
                  <a:pt x="60" y="1326"/>
                </a:lnTo>
                <a:lnTo>
                  <a:pt x="60" y="1320"/>
                </a:lnTo>
                <a:lnTo>
                  <a:pt x="66" y="1320"/>
                </a:lnTo>
                <a:lnTo>
                  <a:pt x="72" y="1314"/>
                </a:lnTo>
                <a:lnTo>
                  <a:pt x="78" y="1314"/>
                </a:lnTo>
                <a:lnTo>
                  <a:pt x="78" y="1308"/>
                </a:lnTo>
                <a:lnTo>
                  <a:pt x="84" y="1302"/>
                </a:lnTo>
                <a:lnTo>
                  <a:pt x="90" y="1302"/>
                </a:lnTo>
                <a:lnTo>
                  <a:pt x="90" y="1296"/>
                </a:lnTo>
                <a:lnTo>
                  <a:pt x="96" y="1296"/>
                </a:lnTo>
                <a:lnTo>
                  <a:pt x="96" y="1290"/>
                </a:lnTo>
                <a:lnTo>
                  <a:pt x="102" y="1290"/>
                </a:lnTo>
                <a:lnTo>
                  <a:pt x="102" y="1284"/>
                </a:lnTo>
                <a:lnTo>
                  <a:pt x="102" y="1278"/>
                </a:lnTo>
                <a:lnTo>
                  <a:pt x="108" y="1278"/>
                </a:lnTo>
                <a:lnTo>
                  <a:pt x="114" y="1278"/>
                </a:lnTo>
                <a:lnTo>
                  <a:pt x="114" y="1272"/>
                </a:lnTo>
                <a:lnTo>
                  <a:pt x="114" y="1266"/>
                </a:lnTo>
                <a:lnTo>
                  <a:pt x="120" y="1266"/>
                </a:lnTo>
                <a:lnTo>
                  <a:pt x="120" y="1260"/>
                </a:lnTo>
                <a:lnTo>
                  <a:pt x="120" y="1254"/>
                </a:lnTo>
                <a:lnTo>
                  <a:pt x="120" y="1248"/>
                </a:lnTo>
                <a:lnTo>
                  <a:pt x="126" y="1248"/>
                </a:lnTo>
                <a:lnTo>
                  <a:pt x="126" y="1242"/>
                </a:lnTo>
                <a:lnTo>
                  <a:pt x="126" y="1236"/>
                </a:lnTo>
                <a:lnTo>
                  <a:pt x="126" y="1230"/>
                </a:lnTo>
                <a:lnTo>
                  <a:pt x="126" y="1224"/>
                </a:lnTo>
                <a:lnTo>
                  <a:pt x="126" y="1218"/>
                </a:lnTo>
                <a:lnTo>
                  <a:pt x="126" y="1212"/>
                </a:lnTo>
                <a:lnTo>
                  <a:pt x="126" y="1206"/>
                </a:lnTo>
                <a:lnTo>
                  <a:pt x="132" y="1206"/>
                </a:lnTo>
                <a:lnTo>
                  <a:pt x="132" y="1200"/>
                </a:lnTo>
                <a:lnTo>
                  <a:pt x="126" y="1194"/>
                </a:lnTo>
                <a:lnTo>
                  <a:pt x="120" y="1188"/>
                </a:lnTo>
                <a:lnTo>
                  <a:pt x="120" y="1182"/>
                </a:lnTo>
                <a:lnTo>
                  <a:pt x="120" y="1176"/>
                </a:lnTo>
                <a:lnTo>
                  <a:pt x="120" y="1170"/>
                </a:lnTo>
                <a:lnTo>
                  <a:pt x="120" y="1164"/>
                </a:lnTo>
                <a:lnTo>
                  <a:pt x="120" y="1158"/>
                </a:lnTo>
                <a:lnTo>
                  <a:pt x="120" y="1152"/>
                </a:lnTo>
                <a:lnTo>
                  <a:pt x="126" y="1152"/>
                </a:lnTo>
                <a:lnTo>
                  <a:pt x="132" y="1152"/>
                </a:lnTo>
                <a:lnTo>
                  <a:pt x="132" y="1146"/>
                </a:lnTo>
                <a:lnTo>
                  <a:pt x="138" y="1146"/>
                </a:lnTo>
                <a:lnTo>
                  <a:pt x="138" y="1140"/>
                </a:lnTo>
                <a:lnTo>
                  <a:pt x="138" y="1134"/>
                </a:lnTo>
                <a:lnTo>
                  <a:pt x="138" y="1128"/>
                </a:lnTo>
                <a:lnTo>
                  <a:pt x="144" y="1128"/>
                </a:lnTo>
                <a:lnTo>
                  <a:pt x="144" y="1122"/>
                </a:lnTo>
                <a:lnTo>
                  <a:pt x="150" y="1122"/>
                </a:lnTo>
                <a:lnTo>
                  <a:pt x="150" y="1116"/>
                </a:lnTo>
                <a:lnTo>
                  <a:pt x="150" y="1110"/>
                </a:lnTo>
                <a:lnTo>
                  <a:pt x="156" y="1104"/>
                </a:lnTo>
                <a:lnTo>
                  <a:pt x="150" y="1098"/>
                </a:lnTo>
                <a:lnTo>
                  <a:pt x="150" y="1092"/>
                </a:lnTo>
                <a:lnTo>
                  <a:pt x="144" y="1092"/>
                </a:lnTo>
                <a:lnTo>
                  <a:pt x="138" y="1092"/>
                </a:lnTo>
                <a:lnTo>
                  <a:pt x="138" y="1086"/>
                </a:lnTo>
                <a:lnTo>
                  <a:pt x="138" y="1080"/>
                </a:lnTo>
                <a:lnTo>
                  <a:pt x="138" y="1074"/>
                </a:lnTo>
                <a:lnTo>
                  <a:pt x="132" y="1074"/>
                </a:lnTo>
                <a:lnTo>
                  <a:pt x="132" y="1068"/>
                </a:lnTo>
                <a:lnTo>
                  <a:pt x="132" y="1062"/>
                </a:lnTo>
                <a:lnTo>
                  <a:pt x="132" y="1056"/>
                </a:lnTo>
                <a:lnTo>
                  <a:pt x="132" y="1050"/>
                </a:lnTo>
                <a:lnTo>
                  <a:pt x="132" y="1044"/>
                </a:lnTo>
                <a:lnTo>
                  <a:pt x="126" y="1038"/>
                </a:lnTo>
                <a:lnTo>
                  <a:pt x="120" y="1032"/>
                </a:lnTo>
                <a:lnTo>
                  <a:pt x="120" y="1026"/>
                </a:lnTo>
                <a:lnTo>
                  <a:pt x="126" y="1020"/>
                </a:lnTo>
                <a:lnTo>
                  <a:pt x="120" y="1014"/>
                </a:lnTo>
                <a:lnTo>
                  <a:pt x="120" y="1008"/>
                </a:lnTo>
                <a:lnTo>
                  <a:pt x="114" y="996"/>
                </a:lnTo>
                <a:lnTo>
                  <a:pt x="114" y="990"/>
                </a:lnTo>
                <a:lnTo>
                  <a:pt x="108" y="984"/>
                </a:lnTo>
                <a:lnTo>
                  <a:pt x="108" y="978"/>
                </a:lnTo>
                <a:lnTo>
                  <a:pt x="108" y="972"/>
                </a:lnTo>
                <a:lnTo>
                  <a:pt x="108" y="966"/>
                </a:lnTo>
                <a:lnTo>
                  <a:pt x="108" y="960"/>
                </a:lnTo>
                <a:lnTo>
                  <a:pt x="108" y="954"/>
                </a:lnTo>
                <a:lnTo>
                  <a:pt x="102" y="954"/>
                </a:lnTo>
                <a:lnTo>
                  <a:pt x="102" y="948"/>
                </a:lnTo>
                <a:lnTo>
                  <a:pt x="102" y="942"/>
                </a:lnTo>
                <a:lnTo>
                  <a:pt x="96" y="936"/>
                </a:lnTo>
                <a:lnTo>
                  <a:pt x="96" y="930"/>
                </a:lnTo>
                <a:lnTo>
                  <a:pt x="96" y="924"/>
                </a:lnTo>
                <a:lnTo>
                  <a:pt x="90" y="918"/>
                </a:lnTo>
                <a:lnTo>
                  <a:pt x="84" y="918"/>
                </a:lnTo>
                <a:lnTo>
                  <a:pt x="84" y="906"/>
                </a:lnTo>
                <a:lnTo>
                  <a:pt x="78" y="906"/>
                </a:lnTo>
                <a:lnTo>
                  <a:pt x="78" y="900"/>
                </a:lnTo>
                <a:lnTo>
                  <a:pt x="78" y="894"/>
                </a:lnTo>
                <a:lnTo>
                  <a:pt x="72" y="888"/>
                </a:lnTo>
                <a:lnTo>
                  <a:pt x="72" y="882"/>
                </a:lnTo>
                <a:lnTo>
                  <a:pt x="72" y="876"/>
                </a:lnTo>
                <a:lnTo>
                  <a:pt x="78" y="870"/>
                </a:lnTo>
                <a:lnTo>
                  <a:pt x="72" y="864"/>
                </a:lnTo>
                <a:lnTo>
                  <a:pt x="72" y="852"/>
                </a:lnTo>
                <a:lnTo>
                  <a:pt x="72" y="828"/>
                </a:lnTo>
                <a:lnTo>
                  <a:pt x="66" y="828"/>
                </a:lnTo>
                <a:lnTo>
                  <a:pt x="60" y="816"/>
                </a:lnTo>
                <a:lnTo>
                  <a:pt x="60" y="810"/>
                </a:lnTo>
                <a:lnTo>
                  <a:pt x="60" y="798"/>
                </a:lnTo>
                <a:lnTo>
                  <a:pt x="54" y="798"/>
                </a:lnTo>
                <a:lnTo>
                  <a:pt x="54" y="792"/>
                </a:lnTo>
                <a:lnTo>
                  <a:pt x="48" y="792"/>
                </a:lnTo>
                <a:lnTo>
                  <a:pt x="54" y="792"/>
                </a:lnTo>
                <a:lnTo>
                  <a:pt x="54" y="786"/>
                </a:lnTo>
                <a:lnTo>
                  <a:pt x="54" y="780"/>
                </a:lnTo>
                <a:lnTo>
                  <a:pt x="54" y="774"/>
                </a:lnTo>
                <a:lnTo>
                  <a:pt x="48" y="768"/>
                </a:lnTo>
                <a:lnTo>
                  <a:pt x="54" y="768"/>
                </a:lnTo>
                <a:lnTo>
                  <a:pt x="60" y="768"/>
                </a:lnTo>
                <a:lnTo>
                  <a:pt x="66" y="768"/>
                </a:lnTo>
                <a:lnTo>
                  <a:pt x="66" y="762"/>
                </a:lnTo>
                <a:lnTo>
                  <a:pt x="66" y="756"/>
                </a:lnTo>
                <a:lnTo>
                  <a:pt x="66" y="750"/>
                </a:lnTo>
                <a:lnTo>
                  <a:pt x="60" y="750"/>
                </a:lnTo>
                <a:lnTo>
                  <a:pt x="54" y="750"/>
                </a:lnTo>
                <a:lnTo>
                  <a:pt x="54" y="744"/>
                </a:lnTo>
                <a:lnTo>
                  <a:pt x="48" y="744"/>
                </a:lnTo>
                <a:lnTo>
                  <a:pt x="54" y="744"/>
                </a:lnTo>
                <a:lnTo>
                  <a:pt x="60" y="744"/>
                </a:lnTo>
                <a:lnTo>
                  <a:pt x="66" y="744"/>
                </a:lnTo>
                <a:lnTo>
                  <a:pt x="60" y="744"/>
                </a:lnTo>
                <a:lnTo>
                  <a:pt x="60" y="738"/>
                </a:lnTo>
                <a:lnTo>
                  <a:pt x="66" y="738"/>
                </a:lnTo>
                <a:lnTo>
                  <a:pt x="60" y="738"/>
                </a:lnTo>
                <a:lnTo>
                  <a:pt x="60" y="732"/>
                </a:lnTo>
                <a:lnTo>
                  <a:pt x="54" y="732"/>
                </a:lnTo>
                <a:lnTo>
                  <a:pt x="60" y="732"/>
                </a:lnTo>
                <a:lnTo>
                  <a:pt x="66" y="732"/>
                </a:lnTo>
                <a:lnTo>
                  <a:pt x="72" y="732"/>
                </a:lnTo>
                <a:lnTo>
                  <a:pt x="72" y="738"/>
                </a:lnTo>
                <a:lnTo>
                  <a:pt x="78" y="738"/>
                </a:lnTo>
                <a:lnTo>
                  <a:pt x="78" y="744"/>
                </a:lnTo>
                <a:lnTo>
                  <a:pt x="84" y="750"/>
                </a:lnTo>
                <a:lnTo>
                  <a:pt x="84" y="756"/>
                </a:lnTo>
                <a:lnTo>
                  <a:pt x="90" y="756"/>
                </a:lnTo>
                <a:lnTo>
                  <a:pt x="90" y="762"/>
                </a:lnTo>
                <a:lnTo>
                  <a:pt x="96" y="762"/>
                </a:lnTo>
                <a:lnTo>
                  <a:pt x="96" y="768"/>
                </a:lnTo>
                <a:lnTo>
                  <a:pt x="102" y="768"/>
                </a:lnTo>
                <a:lnTo>
                  <a:pt x="102" y="774"/>
                </a:lnTo>
                <a:lnTo>
                  <a:pt x="108" y="774"/>
                </a:lnTo>
                <a:lnTo>
                  <a:pt x="114" y="774"/>
                </a:lnTo>
                <a:lnTo>
                  <a:pt x="114" y="780"/>
                </a:lnTo>
                <a:lnTo>
                  <a:pt x="120" y="780"/>
                </a:lnTo>
                <a:lnTo>
                  <a:pt x="126" y="780"/>
                </a:lnTo>
                <a:lnTo>
                  <a:pt x="132" y="780"/>
                </a:lnTo>
                <a:lnTo>
                  <a:pt x="138" y="780"/>
                </a:lnTo>
                <a:lnTo>
                  <a:pt x="144" y="780"/>
                </a:lnTo>
                <a:lnTo>
                  <a:pt x="150" y="786"/>
                </a:lnTo>
                <a:lnTo>
                  <a:pt x="156" y="786"/>
                </a:lnTo>
                <a:lnTo>
                  <a:pt x="162" y="786"/>
                </a:lnTo>
                <a:lnTo>
                  <a:pt x="168" y="786"/>
                </a:lnTo>
                <a:lnTo>
                  <a:pt x="168" y="792"/>
                </a:lnTo>
                <a:lnTo>
                  <a:pt x="174" y="792"/>
                </a:lnTo>
                <a:lnTo>
                  <a:pt x="174" y="798"/>
                </a:lnTo>
                <a:lnTo>
                  <a:pt x="180" y="798"/>
                </a:lnTo>
                <a:lnTo>
                  <a:pt x="180" y="804"/>
                </a:lnTo>
                <a:lnTo>
                  <a:pt x="180" y="810"/>
                </a:lnTo>
                <a:lnTo>
                  <a:pt x="186" y="810"/>
                </a:lnTo>
                <a:lnTo>
                  <a:pt x="186" y="816"/>
                </a:lnTo>
                <a:lnTo>
                  <a:pt x="186" y="822"/>
                </a:lnTo>
                <a:lnTo>
                  <a:pt x="192" y="822"/>
                </a:lnTo>
                <a:lnTo>
                  <a:pt x="192" y="828"/>
                </a:lnTo>
                <a:lnTo>
                  <a:pt x="192" y="834"/>
                </a:lnTo>
                <a:lnTo>
                  <a:pt x="198" y="834"/>
                </a:lnTo>
                <a:lnTo>
                  <a:pt x="198" y="840"/>
                </a:lnTo>
                <a:lnTo>
                  <a:pt x="204" y="840"/>
                </a:lnTo>
                <a:lnTo>
                  <a:pt x="204" y="846"/>
                </a:lnTo>
                <a:lnTo>
                  <a:pt x="204" y="840"/>
                </a:lnTo>
                <a:lnTo>
                  <a:pt x="204" y="834"/>
                </a:lnTo>
                <a:lnTo>
                  <a:pt x="204" y="828"/>
                </a:lnTo>
                <a:lnTo>
                  <a:pt x="204" y="822"/>
                </a:lnTo>
                <a:lnTo>
                  <a:pt x="204" y="816"/>
                </a:lnTo>
                <a:lnTo>
                  <a:pt x="210" y="816"/>
                </a:lnTo>
                <a:lnTo>
                  <a:pt x="210" y="810"/>
                </a:lnTo>
                <a:lnTo>
                  <a:pt x="216" y="810"/>
                </a:lnTo>
                <a:lnTo>
                  <a:pt x="216" y="804"/>
                </a:lnTo>
                <a:lnTo>
                  <a:pt x="210" y="804"/>
                </a:lnTo>
                <a:lnTo>
                  <a:pt x="216" y="804"/>
                </a:lnTo>
                <a:lnTo>
                  <a:pt x="216" y="798"/>
                </a:lnTo>
                <a:lnTo>
                  <a:pt x="216" y="804"/>
                </a:lnTo>
                <a:lnTo>
                  <a:pt x="216" y="798"/>
                </a:lnTo>
                <a:lnTo>
                  <a:pt x="216" y="792"/>
                </a:lnTo>
                <a:lnTo>
                  <a:pt x="210" y="792"/>
                </a:lnTo>
                <a:lnTo>
                  <a:pt x="210" y="798"/>
                </a:lnTo>
                <a:lnTo>
                  <a:pt x="210" y="792"/>
                </a:lnTo>
                <a:lnTo>
                  <a:pt x="204" y="792"/>
                </a:lnTo>
                <a:lnTo>
                  <a:pt x="198" y="792"/>
                </a:lnTo>
                <a:lnTo>
                  <a:pt x="192" y="792"/>
                </a:lnTo>
                <a:lnTo>
                  <a:pt x="192" y="786"/>
                </a:lnTo>
                <a:lnTo>
                  <a:pt x="186" y="786"/>
                </a:lnTo>
                <a:lnTo>
                  <a:pt x="186" y="780"/>
                </a:lnTo>
                <a:lnTo>
                  <a:pt x="180" y="780"/>
                </a:lnTo>
                <a:lnTo>
                  <a:pt x="180" y="774"/>
                </a:lnTo>
                <a:lnTo>
                  <a:pt x="180" y="768"/>
                </a:lnTo>
                <a:lnTo>
                  <a:pt x="174" y="762"/>
                </a:lnTo>
                <a:lnTo>
                  <a:pt x="174" y="756"/>
                </a:lnTo>
                <a:lnTo>
                  <a:pt x="174" y="750"/>
                </a:lnTo>
                <a:lnTo>
                  <a:pt x="174" y="744"/>
                </a:lnTo>
                <a:lnTo>
                  <a:pt x="180" y="738"/>
                </a:lnTo>
                <a:lnTo>
                  <a:pt x="180" y="732"/>
                </a:lnTo>
                <a:lnTo>
                  <a:pt x="180" y="726"/>
                </a:lnTo>
                <a:lnTo>
                  <a:pt x="180" y="720"/>
                </a:lnTo>
                <a:lnTo>
                  <a:pt x="180" y="714"/>
                </a:lnTo>
                <a:lnTo>
                  <a:pt x="186" y="714"/>
                </a:lnTo>
                <a:lnTo>
                  <a:pt x="186" y="708"/>
                </a:lnTo>
                <a:lnTo>
                  <a:pt x="180" y="708"/>
                </a:lnTo>
                <a:lnTo>
                  <a:pt x="186" y="708"/>
                </a:lnTo>
                <a:lnTo>
                  <a:pt x="186" y="714"/>
                </a:lnTo>
                <a:lnTo>
                  <a:pt x="192" y="714"/>
                </a:lnTo>
                <a:lnTo>
                  <a:pt x="192" y="708"/>
                </a:lnTo>
                <a:lnTo>
                  <a:pt x="198" y="708"/>
                </a:lnTo>
                <a:lnTo>
                  <a:pt x="204" y="708"/>
                </a:lnTo>
                <a:lnTo>
                  <a:pt x="204" y="702"/>
                </a:lnTo>
                <a:lnTo>
                  <a:pt x="204" y="696"/>
                </a:lnTo>
                <a:lnTo>
                  <a:pt x="204" y="690"/>
                </a:lnTo>
                <a:lnTo>
                  <a:pt x="204" y="684"/>
                </a:lnTo>
                <a:lnTo>
                  <a:pt x="204" y="678"/>
                </a:lnTo>
                <a:lnTo>
                  <a:pt x="204" y="672"/>
                </a:lnTo>
                <a:lnTo>
                  <a:pt x="204" y="666"/>
                </a:lnTo>
                <a:lnTo>
                  <a:pt x="198" y="660"/>
                </a:lnTo>
                <a:lnTo>
                  <a:pt x="204" y="654"/>
                </a:lnTo>
                <a:lnTo>
                  <a:pt x="204" y="648"/>
                </a:lnTo>
                <a:lnTo>
                  <a:pt x="204" y="642"/>
                </a:lnTo>
                <a:lnTo>
                  <a:pt x="210" y="636"/>
                </a:lnTo>
                <a:lnTo>
                  <a:pt x="210" y="630"/>
                </a:lnTo>
                <a:lnTo>
                  <a:pt x="210" y="624"/>
                </a:lnTo>
                <a:lnTo>
                  <a:pt x="210" y="618"/>
                </a:lnTo>
                <a:lnTo>
                  <a:pt x="210" y="612"/>
                </a:lnTo>
                <a:lnTo>
                  <a:pt x="216" y="612"/>
                </a:lnTo>
                <a:lnTo>
                  <a:pt x="216" y="606"/>
                </a:lnTo>
                <a:lnTo>
                  <a:pt x="216" y="600"/>
                </a:lnTo>
                <a:lnTo>
                  <a:pt x="216" y="594"/>
                </a:lnTo>
                <a:lnTo>
                  <a:pt x="222" y="594"/>
                </a:lnTo>
                <a:lnTo>
                  <a:pt x="228" y="594"/>
                </a:lnTo>
                <a:lnTo>
                  <a:pt x="228" y="588"/>
                </a:lnTo>
                <a:lnTo>
                  <a:pt x="228" y="582"/>
                </a:lnTo>
                <a:lnTo>
                  <a:pt x="234" y="582"/>
                </a:lnTo>
                <a:lnTo>
                  <a:pt x="240" y="582"/>
                </a:lnTo>
                <a:lnTo>
                  <a:pt x="234" y="582"/>
                </a:lnTo>
                <a:lnTo>
                  <a:pt x="234" y="576"/>
                </a:lnTo>
                <a:lnTo>
                  <a:pt x="240" y="576"/>
                </a:lnTo>
                <a:lnTo>
                  <a:pt x="240" y="570"/>
                </a:lnTo>
                <a:lnTo>
                  <a:pt x="246" y="570"/>
                </a:lnTo>
                <a:lnTo>
                  <a:pt x="246" y="564"/>
                </a:lnTo>
                <a:lnTo>
                  <a:pt x="252" y="564"/>
                </a:lnTo>
                <a:lnTo>
                  <a:pt x="258" y="564"/>
                </a:lnTo>
                <a:lnTo>
                  <a:pt x="258" y="570"/>
                </a:lnTo>
                <a:lnTo>
                  <a:pt x="264" y="570"/>
                </a:lnTo>
                <a:lnTo>
                  <a:pt x="264" y="576"/>
                </a:lnTo>
                <a:lnTo>
                  <a:pt x="264" y="570"/>
                </a:lnTo>
                <a:lnTo>
                  <a:pt x="264" y="564"/>
                </a:lnTo>
                <a:lnTo>
                  <a:pt x="264" y="558"/>
                </a:lnTo>
                <a:lnTo>
                  <a:pt x="264" y="552"/>
                </a:lnTo>
                <a:lnTo>
                  <a:pt x="264" y="546"/>
                </a:lnTo>
                <a:lnTo>
                  <a:pt x="264" y="540"/>
                </a:lnTo>
                <a:lnTo>
                  <a:pt x="264" y="534"/>
                </a:lnTo>
                <a:lnTo>
                  <a:pt x="270" y="534"/>
                </a:lnTo>
                <a:lnTo>
                  <a:pt x="276" y="534"/>
                </a:lnTo>
                <a:lnTo>
                  <a:pt x="270" y="534"/>
                </a:lnTo>
                <a:lnTo>
                  <a:pt x="270" y="528"/>
                </a:lnTo>
                <a:lnTo>
                  <a:pt x="264" y="528"/>
                </a:lnTo>
                <a:lnTo>
                  <a:pt x="264" y="522"/>
                </a:lnTo>
                <a:lnTo>
                  <a:pt x="264" y="516"/>
                </a:lnTo>
                <a:lnTo>
                  <a:pt x="270" y="516"/>
                </a:lnTo>
                <a:lnTo>
                  <a:pt x="270" y="510"/>
                </a:lnTo>
                <a:lnTo>
                  <a:pt x="276" y="510"/>
                </a:lnTo>
                <a:lnTo>
                  <a:pt x="282" y="504"/>
                </a:lnTo>
                <a:lnTo>
                  <a:pt x="282" y="498"/>
                </a:lnTo>
                <a:lnTo>
                  <a:pt x="282" y="492"/>
                </a:lnTo>
                <a:lnTo>
                  <a:pt x="276" y="492"/>
                </a:lnTo>
                <a:lnTo>
                  <a:pt x="276" y="486"/>
                </a:lnTo>
                <a:lnTo>
                  <a:pt x="276" y="492"/>
                </a:lnTo>
                <a:lnTo>
                  <a:pt x="270" y="492"/>
                </a:lnTo>
                <a:lnTo>
                  <a:pt x="264" y="492"/>
                </a:lnTo>
                <a:lnTo>
                  <a:pt x="264" y="498"/>
                </a:lnTo>
                <a:lnTo>
                  <a:pt x="264" y="492"/>
                </a:lnTo>
                <a:lnTo>
                  <a:pt x="258" y="492"/>
                </a:lnTo>
                <a:lnTo>
                  <a:pt x="258" y="498"/>
                </a:lnTo>
                <a:lnTo>
                  <a:pt x="252" y="498"/>
                </a:lnTo>
                <a:lnTo>
                  <a:pt x="246" y="498"/>
                </a:lnTo>
                <a:lnTo>
                  <a:pt x="252" y="498"/>
                </a:lnTo>
                <a:lnTo>
                  <a:pt x="252" y="492"/>
                </a:lnTo>
                <a:lnTo>
                  <a:pt x="258" y="492"/>
                </a:lnTo>
                <a:lnTo>
                  <a:pt x="264" y="492"/>
                </a:lnTo>
                <a:lnTo>
                  <a:pt x="264" y="486"/>
                </a:lnTo>
                <a:lnTo>
                  <a:pt x="270" y="486"/>
                </a:lnTo>
                <a:lnTo>
                  <a:pt x="276" y="486"/>
                </a:lnTo>
                <a:lnTo>
                  <a:pt x="282" y="480"/>
                </a:lnTo>
                <a:lnTo>
                  <a:pt x="288" y="480"/>
                </a:lnTo>
                <a:lnTo>
                  <a:pt x="294" y="480"/>
                </a:lnTo>
                <a:lnTo>
                  <a:pt x="300" y="474"/>
                </a:lnTo>
                <a:lnTo>
                  <a:pt x="306" y="474"/>
                </a:lnTo>
                <a:lnTo>
                  <a:pt x="312" y="468"/>
                </a:lnTo>
                <a:lnTo>
                  <a:pt x="318" y="468"/>
                </a:lnTo>
                <a:lnTo>
                  <a:pt x="324" y="468"/>
                </a:lnTo>
                <a:lnTo>
                  <a:pt x="324" y="462"/>
                </a:lnTo>
                <a:lnTo>
                  <a:pt x="330" y="462"/>
                </a:lnTo>
                <a:lnTo>
                  <a:pt x="336" y="462"/>
                </a:lnTo>
                <a:lnTo>
                  <a:pt x="342" y="456"/>
                </a:lnTo>
                <a:lnTo>
                  <a:pt x="348" y="456"/>
                </a:lnTo>
                <a:lnTo>
                  <a:pt x="348" y="450"/>
                </a:lnTo>
                <a:lnTo>
                  <a:pt x="354" y="450"/>
                </a:lnTo>
                <a:lnTo>
                  <a:pt x="360" y="450"/>
                </a:lnTo>
                <a:lnTo>
                  <a:pt x="360" y="444"/>
                </a:lnTo>
                <a:lnTo>
                  <a:pt x="366" y="444"/>
                </a:lnTo>
                <a:lnTo>
                  <a:pt x="372" y="444"/>
                </a:lnTo>
                <a:lnTo>
                  <a:pt x="378" y="438"/>
                </a:lnTo>
                <a:lnTo>
                  <a:pt x="384" y="438"/>
                </a:lnTo>
                <a:lnTo>
                  <a:pt x="390" y="432"/>
                </a:lnTo>
                <a:lnTo>
                  <a:pt x="396" y="432"/>
                </a:lnTo>
                <a:lnTo>
                  <a:pt x="402" y="426"/>
                </a:lnTo>
                <a:lnTo>
                  <a:pt x="408" y="426"/>
                </a:lnTo>
                <a:lnTo>
                  <a:pt x="414" y="426"/>
                </a:lnTo>
                <a:lnTo>
                  <a:pt x="414" y="420"/>
                </a:lnTo>
                <a:lnTo>
                  <a:pt x="420" y="420"/>
                </a:lnTo>
                <a:lnTo>
                  <a:pt x="426" y="420"/>
                </a:lnTo>
                <a:lnTo>
                  <a:pt x="432" y="414"/>
                </a:lnTo>
                <a:lnTo>
                  <a:pt x="438" y="414"/>
                </a:lnTo>
                <a:lnTo>
                  <a:pt x="444" y="408"/>
                </a:lnTo>
                <a:lnTo>
                  <a:pt x="450" y="408"/>
                </a:lnTo>
                <a:lnTo>
                  <a:pt x="456" y="402"/>
                </a:lnTo>
                <a:lnTo>
                  <a:pt x="462" y="402"/>
                </a:lnTo>
                <a:lnTo>
                  <a:pt x="468" y="396"/>
                </a:lnTo>
                <a:lnTo>
                  <a:pt x="474" y="396"/>
                </a:lnTo>
                <a:lnTo>
                  <a:pt x="480" y="390"/>
                </a:lnTo>
                <a:lnTo>
                  <a:pt x="486" y="390"/>
                </a:lnTo>
                <a:lnTo>
                  <a:pt x="486" y="384"/>
                </a:lnTo>
                <a:lnTo>
                  <a:pt x="492" y="384"/>
                </a:lnTo>
                <a:lnTo>
                  <a:pt x="498" y="384"/>
                </a:lnTo>
                <a:lnTo>
                  <a:pt x="504" y="384"/>
                </a:lnTo>
                <a:lnTo>
                  <a:pt x="504" y="378"/>
                </a:lnTo>
                <a:lnTo>
                  <a:pt x="510" y="378"/>
                </a:lnTo>
                <a:lnTo>
                  <a:pt x="516" y="378"/>
                </a:lnTo>
                <a:lnTo>
                  <a:pt x="522" y="378"/>
                </a:lnTo>
                <a:lnTo>
                  <a:pt x="522" y="372"/>
                </a:lnTo>
                <a:lnTo>
                  <a:pt x="528" y="372"/>
                </a:lnTo>
                <a:lnTo>
                  <a:pt x="534" y="372"/>
                </a:lnTo>
                <a:lnTo>
                  <a:pt x="540" y="372"/>
                </a:lnTo>
                <a:lnTo>
                  <a:pt x="546" y="372"/>
                </a:lnTo>
                <a:lnTo>
                  <a:pt x="546" y="366"/>
                </a:lnTo>
                <a:lnTo>
                  <a:pt x="552" y="366"/>
                </a:lnTo>
                <a:lnTo>
                  <a:pt x="558" y="366"/>
                </a:lnTo>
                <a:lnTo>
                  <a:pt x="564" y="366"/>
                </a:lnTo>
                <a:lnTo>
                  <a:pt x="570" y="360"/>
                </a:lnTo>
                <a:lnTo>
                  <a:pt x="576" y="360"/>
                </a:lnTo>
                <a:lnTo>
                  <a:pt x="582" y="360"/>
                </a:lnTo>
                <a:lnTo>
                  <a:pt x="588" y="360"/>
                </a:lnTo>
                <a:lnTo>
                  <a:pt x="594" y="360"/>
                </a:lnTo>
                <a:lnTo>
                  <a:pt x="594" y="354"/>
                </a:lnTo>
                <a:lnTo>
                  <a:pt x="600" y="354"/>
                </a:lnTo>
                <a:lnTo>
                  <a:pt x="606" y="354"/>
                </a:lnTo>
                <a:lnTo>
                  <a:pt x="606" y="348"/>
                </a:lnTo>
                <a:lnTo>
                  <a:pt x="612" y="348"/>
                </a:lnTo>
                <a:lnTo>
                  <a:pt x="612" y="342"/>
                </a:lnTo>
                <a:lnTo>
                  <a:pt x="618" y="342"/>
                </a:lnTo>
                <a:lnTo>
                  <a:pt x="624" y="342"/>
                </a:lnTo>
                <a:lnTo>
                  <a:pt x="630" y="342"/>
                </a:lnTo>
                <a:lnTo>
                  <a:pt x="636" y="342"/>
                </a:lnTo>
                <a:lnTo>
                  <a:pt x="636" y="336"/>
                </a:lnTo>
                <a:lnTo>
                  <a:pt x="642" y="336"/>
                </a:lnTo>
                <a:lnTo>
                  <a:pt x="648" y="336"/>
                </a:lnTo>
                <a:lnTo>
                  <a:pt x="654" y="336"/>
                </a:lnTo>
                <a:lnTo>
                  <a:pt x="654" y="330"/>
                </a:lnTo>
                <a:lnTo>
                  <a:pt x="660" y="330"/>
                </a:lnTo>
                <a:lnTo>
                  <a:pt x="666" y="330"/>
                </a:lnTo>
                <a:lnTo>
                  <a:pt x="672" y="330"/>
                </a:lnTo>
                <a:lnTo>
                  <a:pt x="672" y="324"/>
                </a:lnTo>
                <a:lnTo>
                  <a:pt x="678" y="324"/>
                </a:lnTo>
                <a:lnTo>
                  <a:pt x="684" y="324"/>
                </a:lnTo>
                <a:lnTo>
                  <a:pt x="690" y="318"/>
                </a:lnTo>
                <a:lnTo>
                  <a:pt x="696" y="318"/>
                </a:lnTo>
                <a:lnTo>
                  <a:pt x="702" y="318"/>
                </a:lnTo>
                <a:lnTo>
                  <a:pt x="702" y="312"/>
                </a:lnTo>
                <a:lnTo>
                  <a:pt x="708" y="312"/>
                </a:lnTo>
                <a:lnTo>
                  <a:pt x="714" y="306"/>
                </a:lnTo>
                <a:lnTo>
                  <a:pt x="720" y="306"/>
                </a:lnTo>
                <a:lnTo>
                  <a:pt x="726" y="300"/>
                </a:lnTo>
                <a:lnTo>
                  <a:pt x="732" y="300"/>
                </a:lnTo>
                <a:lnTo>
                  <a:pt x="732" y="294"/>
                </a:lnTo>
                <a:lnTo>
                  <a:pt x="738" y="294"/>
                </a:lnTo>
                <a:lnTo>
                  <a:pt x="744" y="294"/>
                </a:lnTo>
                <a:lnTo>
                  <a:pt x="750" y="288"/>
                </a:lnTo>
                <a:lnTo>
                  <a:pt x="756" y="288"/>
                </a:lnTo>
                <a:lnTo>
                  <a:pt x="762" y="288"/>
                </a:lnTo>
                <a:lnTo>
                  <a:pt x="768" y="282"/>
                </a:lnTo>
                <a:lnTo>
                  <a:pt x="774" y="282"/>
                </a:lnTo>
                <a:lnTo>
                  <a:pt x="780" y="282"/>
                </a:lnTo>
                <a:lnTo>
                  <a:pt x="786" y="282"/>
                </a:lnTo>
                <a:lnTo>
                  <a:pt x="792" y="282"/>
                </a:lnTo>
                <a:lnTo>
                  <a:pt x="792" y="276"/>
                </a:lnTo>
                <a:lnTo>
                  <a:pt x="798" y="276"/>
                </a:lnTo>
                <a:lnTo>
                  <a:pt x="804" y="276"/>
                </a:lnTo>
                <a:lnTo>
                  <a:pt x="810" y="276"/>
                </a:lnTo>
                <a:lnTo>
                  <a:pt x="816" y="276"/>
                </a:lnTo>
                <a:lnTo>
                  <a:pt x="822" y="270"/>
                </a:lnTo>
                <a:lnTo>
                  <a:pt x="828" y="270"/>
                </a:lnTo>
                <a:lnTo>
                  <a:pt x="834" y="270"/>
                </a:lnTo>
                <a:lnTo>
                  <a:pt x="834" y="264"/>
                </a:lnTo>
                <a:lnTo>
                  <a:pt x="840" y="264"/>
                </a:lnTo>
                <a:lnTo>
                  <a:pt x="846" y="264"/>
                </a:lnTo>
                <a:lnTo>
                  <a:pt x="852" y="258"/>
                </a:lnTo>
                <a:lnTo>
                  <a:pt x="858" y="258"/>
                </a:lnTo>
                <a:lnTo>
                  <a:pt x="864" y="252"/>
                </a:lnTo>
                <a:lnTo>
                  <a:pt x="870" y="246"/>
                </a:lnTo>
                <a:lnTo>
                  <a:pt x="876" y="246"/>
                </a:lnTo>
                <a:lnTo>
                  <a:pt x="876" y="252"/>
                </a:lnTo>
                <a:lnTo>
                  <a:pt x="870" y="252"/>
                </a:lnTo>
                <a:lnTo>
                  <a:pt x="864" y="258"/>
                </a:lnTo>
                <a:lnTo>
                  <a:pt x="858" y="258"/>
                </a:lnTo>
                <a:lnTo>
                  <a:pt x="858" y="264"/>
                </a:lnTo>
                <a:lnTo>
                  <a:pt x="852" y="264"/>
                </a:lnTo>
                <a:lnTo>
                  <a:pt x="846" y="264"/>
                </a:lnTo>
                <a:lnTo>
                  <a:pt x="846" y="270"/>
                </a:lnTo>
                <a:lnTo>
                  <a:pt x="852" y="270"/>
                </a:lnTo>
                <a:lnTo>
                  <a:pt x="852" y="276"/>
                </a:lnTo>
                <a:lnTo>
                  <a:pt x="858" y="276"/>
                </a:lnTo>
                <a:lnTo>
                  <a:pt x="858" y="270"/>
                </a:lnTo>
                <a:lnTo>
                  <a:pt x="864" y="264"/>
                </a:lnTo>
                <a:lnTo>
                  <a:pt x="864" y="270"/>
                </a:lnTo>
                <a:lnTo>
                  <a:pt x="870" y="270"/>
                </a:lnTo>
                <a:lnTo>
                  <a:pt x="876" y="270"/>
                </a:lnTo>
                <a:lnTo>
                  <a:pt x="882" y="270"/>
                </a:lnTo>
                <a:lnTo>
                  <a:pt x="882" y="264"/>
                </a:lnTo>
                <a:lnTo>
                  <a:pt x="888" y="264"/>
                </a:lnTo>
                <a:lnTo>
                  <a:pt x="894" y="264"/>
                </a:lnTo>
                <a:lnTo>
                  <a:pt x="894" y="258"/>
                </a:lnTo>
                <a:lnTo>
                  <a:pt x="894" y="252"/>
                </a:lnTo>
                <a:lnTo>
                  <a:pt x="888" y="252"/>
                </a:lnTo>
                <a:lnTo>
                  <a:pt x="894" y="252"/>
                </a:lnTo>
                <a:lnTo>
                  <a:pt x="900" y="252"/>
                </a:lnTo>
                <a:lnTo>
                  <a:pt x="906" y="252"/>
                </a:lnTo>
                <a:lnTo>
                  <a:pt x="912" y="252"/>
                </a:lnTo>
                <a:lnTo>
                  <a:pt x="912" y="246"/>
                </a:lnTo>
                <a:lnTo>
                  <a:pt x="906" y="246"/>
                </a:lnTo>
                <a:lnTo>
                  <a:pt x="906" y="240"/>
                </a:lnTo>
                <a:lnTo>
                  <a:pt x="906" y="234"/>
                </a:lnTo>
                <a:lnTo>
                  <a:pt x="906" y="228"/>
                </a:lnTo>
                <a:lnTo>
                  <a:pt x="900" y="228"/>
                </a:lnTo>
                <a:lnTo>
                  <a:pt x="900" y="234"/>
                </a:lnTo>
                <a:lnTo>
                  <a:pt x="894" y="234"/>
                </a:lnTo>
                <a:lnTo>
                  <a:pt x="888" y="234"/>
                </a:lnTo>
                <a:lnTo>
                  <a:pt x="888" y="240"/>
                </a:lnTo>
                <a:lnTo>
                  <a:pt x="882" y="240"/>
                </a:lnTo>
                <a:lnTo>
                  <a:pt x="882" y="246"/>
                </a:lnTo>
                <a:lnTo>
                  <a:pt x="876" y="246"/>
                </a:lnTo>
                <a:lnTo>
                  <a:pt x="870" y="246"/>
                </a:lnTo>
                <a:lnTo>
                  <a:pt x="876" y="246"/>
                </a:lnTo>
                <a:lnTo>
                  <a:pt x="882" y="240"/>
                </a:lnTo>
                <a:lnTo>
                  <a:pt x="888" y="234"/>
                </a:lnTo>
                <a:lnTo>
                  <a:pt x="894" y="228"/>
                </a:lnTo>
                <a:lnTo>
                  <a:pt x="900" y="228"/>
                </a:lnTo>
                <a:lnTo>
                  <a:pt x="900" y="222"/>
                </a:lnTo>
                <a:lnTo>
                  <a:pt x="906" y="222"/>
                </a:lnTo>
                <a:lnTo>
                  <a:pt x="906" y="216"/>
                </a:lnTo>
                <a:lnTo>
                  <a:pt x="912" y="216"/>
                </a:lnTo>
                <a:lnTo>
                  <a:pt x="912" y="210"/>
                </a:lnTo>
                <a:lnTo>
                  <a:pt x="918" y="204"/>
                </a:lnTo>
                <a:lnTo>
                  <a:pt x="924" y="198"/>
                </a:lnTo>
                <a:lnTo>
                  <a:pt x="924" y="192"/>
                </a:lnTo>
                <a:lnTo>
                  <a:pt x="930" y="192"/>
                </a:lnTo>
                <a:lnTo>
                  <a:pt x="930" y="186"/>
                </a:lnTo>
                <a:lnTo>
                  <a:pt x="936" y="186"/>
                </a:lnTo>
                <a:lnTo>
                  <a:pt x="930" y="186"/>
                </a:lnTo>
                <a:lnTo>
                  <a:pt x="930" y="192"/>
                </a:lnTo>
                <a:lnTo>
                  <a:pt x="924" y="192"/>
                </a:lnTo>
                <a:lnTo>
                  <a:pt x="924" y="198"/>
                </a:lnTo>
                <a:lnTo>
                  <a:pt x="918" y="204"/>
                </a:lnTo>
                <a:lnTo>
                  <a:pt x="918" y="210"/>
                </a:lnTo>
                <a:lnTo>
                  <a:pt x="912" y="210"/>
                </a:lnTo>
                <a:lnTo>
                  <a:pt x="912" y="216"/>
                </a:lnTo>
                <a:lnTo>
                  <a:pt x="918" y="216"/>
                </a:lnTo>
                <a:lnTo>
                  <a:pt x="924" y="216"/>
                </a:lnTo>
                <a:lnTo>
                  <a:pt x="930" y="216"/>
                </a:lnTo>
                <a:lnTo>
                  <a:pt x="930" y="210"/>
                </a:lnTo>
                <a:lnTo>
                  <a:pt x="930" y="204"/>
                </a:lnTo>
                <a:lnTo>
                  <a:pt x="924" y="204"/>
                </a:lnTo>
                <a:lnTo>
                  <a:pt x="930" y="204"/>
                </a:lnTo>
                <a:lnTo>
                  <a:pt x="936" y="204"/>
                </a:lnTo>
                <a:lnTo>
                  <a:pt x="936" y="198"/>
                </a:lnTo>
                <a:lnTo>
                  <a:pt x="942" y="198"/>
                </a:lnTo>
                <a:lnTo>
                  <a:pt x="948" y="198"/>
                </a:lnTo>
                <a:lnTo>
                  <a:pt x="948" y="192"/>
                </a:lnTo>
                <a:lnTo>
                  <a:pt x="954" y="192"/>
                </a:lnTo>
                <a:lnTo>
                  <a:pt x="960" y="192"/>
                </a:lnTo>
                <a:lnTo>
                  <a:pt x="960" y="186"/>
                </a:lnTo>
                <a:lnTo>
                  <a:pt x="960" y="180"/>
                </a:lnTo>
                <a:lnTo>
                  <a:pt x="960" y="174"/>
                </a:lnTo>
                <a:lnTo>
                  <a:pt x="954" y="174"/>
                </a:lnTo>
                <a:lnTo>
                  <a:pt x="954" y="168"/>
                </a:lnTo>
                <a:lnTo>
                  <a:pt x="948" y="168"/>
                </a:lnTo>
                <a:lnTo>
                  <a:pt x="942" y="174"/>
                </a:lnTo>
                <a:lnTo>
                  <a:pt x="942" y="180"/>
                </a:lnTo>
                <a:lnTo>
                  <a:pt x="936" y="180"/>
                </a:lnTo>
                <a:lnTo>
                  <a:pt x="936" y="186"/>
                </a:lnTo>
                <a:lnTo>
                  <a:pt x="930" y="186"/>
                </a:lnTo>
                <a:lnTo>
                  <a:pt x="936" y="180"/>
                </a:lnTo>
                <a:lnTo>
                  <a:pt x="936" y="174"/>
                </a:lnTo>
                <a:lnTo>
                  <a:pt x="942" y="174"/>
                </a:lnTo>
                <a:lnTo>
                  <a:pt x="942" y="168"/>
                </a:lnTo>
                <a:lnTo>
                  <a:pt x="948" y="162"/>
                </a:lnTo>
                <a:lnTo>
                  <a:pt x="954" y="156"/>
                </a:lnTo>
                <a:lnTo>
                  <a:pt x="954" y="150"/>
                </a:lnTo>
                <a:lnTo>
                  <a:pt x="960" y="150"/>
                </a:lnTo>
                <a:lnTo>
                  <a:pt x="960" y="144"/>
                </a:lnTo>
                <a:lnTo>
                  <a:pt x="960" y="138"/>
                </a:lnTo>
                <a:lnTo>
                  <a:pt x="966" y="138"/>
                </a:lnTo>
                <a:lnTo>
                  <a:pt x="966" y="132"/>
                </a:lnTo>
                <a:lnTo>
                  <a:pt x="966" y="126"/>
                </a:lnTo>
                <a:lnTo>
                  <a:pt x="972" y="126"/>
                </a:lnTo>
                <a:lnTo>
                  <a:pt x="972" y="120"/>
                </a:lnTo>
                <a:lnTo>
                  <a:pt x="972" y="114"/>
                </a:lnTo>
                <a:lnTo>
                  <a:pt x="978" y="114"/>
                </a:lnTo>
                <a:lnTo>
                  <a:pt x="978" y="108"/>
                </a:lnTo>
                <a:lnTo>
                  <a:pt x="984" y="108"/>
                </a:lnTo>
                <a:lnTo>
                  <a:pt x="984" y="102"/>
                </a:lnTo>
                <a:lnTo>
                  <a:pt x="984" y="96"/>
                </a:lnTo>
                <a:lnTo>
                  <a:pt x="990" y="96"/>
                </a:lnTo>
                <a:lnTo>
                  <a:pt x="990" y="90"/>
                </a:lnTo>
                <a:lnTo>
                  <a:pt x="990" y="84"/>
                </a:lnTo>
                <a:lnTo>
                  <a:pt x="996" y="78"/>
                </a:lnTo>
                <a:lnTo>
                  <a:pt x="996" y="72"/>
                </a:lnTo>
                <a:lnTo>
                  <a:pt x="1002" y="66"/>
                </a:lnTo>
                <a:lnTo>
                  <a:pt x="1008" y="60"/>
                </a:lnTo>
                <a:lnTo>
                  <a:pt x="1008" y="54"/>
                </a:lnTo>
                <a:lnTo>
                  <a:pt x="1014" y="54"/>
                </a:lnTo>
                <a:lnTo>
                  <a:pt x="1014" y="48"/>
                </a:lnTo>
                <a:lnTo>
                  <a:pt x="1020" y="48"/>
                </a:lnTo>
                <a:lnTo>
                  <a:pt x="1020" y="42"/>
                </a:lnTo>
                <a:lnTo>
                  <a:pt x="1026" y="42"/>
                </a:lnTo>
                <a:lnTo>
                  <a:pt x="1026" y="36"/>
                </a:lnTo>
                <a:lnTo>
                  <a:pt x="1032" y="36"/>
                </a:lnTo>
                <a:lnTo>
                  <a:pt x="1032" y="30"/>
                </a:lnTo>
                <a:lnTo>
                  <a:pt x="1038" y="30"/>
                </a:lnTo>
                <a:lnTo>
                  <a:pt x="1038" y="24"/>
                </a:lnTo>
                <a:lnTo>
                  <a:pt x="1044" y="24"/>
                </a:lnTo>
                <a:lnTo>
                  <a:pt x="1050" y="24"/>
                </a:lnTo>
                <a:lnTo>
                  <a:pt x="1056" y="18"/>
                </a:lnTo>
                <a:lnTo>
                  <a:pt x="1062" y="18"/>
                </a:lnTo>
                <a:lnTo>
                  <a:pt x="1062" y="12"/>
                </a:lnTo>
                <a:lnTo>
                  <a:pt x="1068" y="12"/>
                </a:lnTo>
                <a:lnTo>
                  <a:pt x="1074" y="12"/>
                </a:lnTo>
                <a:lnTo>
                  <a:pt x="1080" y="12"/>
                </a:lnTo>
                <a:lnTo>
                  <a:pt x="1080" y="6"/>
                </a:lnTo>
                <a:lnTo>
                  <a:pt x="1086" y="6"/>
                </a:lnTo>
                <a:lnTo>
                  <a:pt x="1092" y="6"/>
                </a:lnTo>
                <a:lnTo>
                  <a:pt x="1098" y="6"/>
                </a:lnTo>
                <a:lnTo>
                  <a:pt x="1098" y="0"/>
                </a:lnTo>
                <a:lnTo>
                  <a:pt x="1104" y="0"/>
                </a:lnTo>
                <a:lnTo>
                  <a:pt x="1110" y="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2" name="Freeform 10">
            <a:extLst>
              <a:ext uri="{FF2B5EF4-FFF2-40B4-BE49-F238E27FC236}">
                <a16:creationId xmlns:a16="http://schemas.microsoft.com/office/drawing/2014/main" id="{FDFD0072-D085-411F-8F7C-9F68E9ADB6A3}"/>
              </a:ext>
            </a:extLst>
          </p:cNvPr>
          <p:cNvSpPr>
            <a:spLocks/>
          </p:cNvSpPr>
          <p:nvPr/>
        </p:nvSpPr>
        <p:spPr bwMode="gray">
          <a:xfrm rot="533595">
            <a:off x="4961968" y="1812926"/>
            <a:ext cx="1246404" cy="929522"/>
          </a:xfrm>
          <a:custGeom>
            <a:avLst/>
            <a:gdLst>
              <a:gd name="T0" fmla="*/ 1206 w 1374"/>
              <a:gd name="T1" fmla="*/ 456 h 1098"/>
              <a:gd name="T2" fmla="*/ 1200 w 1374"/>
              <a:gd name="T3" fmla="*/ 540 h 1098"/>
              <a:gd name="T4" fmla="*/ 1224 w 1374"/>
              <a:gd name="T5" fmla="*/ 588 h 1098"/>
              <a:gd name="T6" fmla="*/ 1272 w 1374"/>
              <a:gd name="T7" fmla="*/ 630 h 1098"/>
              <a:gd name="T8" fmla="*/ 1356 w 1374"/>
              <a:gd name="T9" fmla="*/ 630 h 1098"/>
              <a:gd name="T10" fmla="*/ 1350 w 1374"/>
              <a:gd name="T11" fmla="*/ 714 h 1098"/>
              <a:gd name="T12" fmla="*/ 1290 w 1374"/>
              <a:gd name="T13" fmla="*/ 738 h 1098"/>
              <a:gd name="T14" fmla="*/ 1236 w 1374"/>
              <a:gd name="T15" fmla="*/ 828 h 1098"/>
              <a:gd name="T16" fmla="*/ 1200 w 1374"/>
              <a:gd name="T17" fmla="*/ 906 h 1098"/>
              <a:gd name="T18" fmla="*/ 1134 w 1374"/>
              <a:gd name="T19" fmla="*/ 936 h 1098"/>
              <a:gd name="T20" fmla="*/ 1026 w 1374"/>
              <a:gd name="T21" fmla="*/ 930 h 1098"/>
              <a:gd name="T22" fmla="*/ 990 w 1374"/>
              <a:gd name="T23" fmla="*/ 882 h 1098"/>
              <a:gd name="T24" fmla="*/ 930 w 1374"/>
              <a:gd name="T25" fmla="*/ 912 h 1098"/>
              <a:gd name="T26" fmla="*/ 852 w 1374"/>
              <a:gd name="T27" fmla="*/ 894 h 1098"/>
              <a:gd name="T28" fmla="*/ 774 w 1374"/>
              <a:gd name="T29" fmla="*/ 864 h 1098"/>
              <a:gd name="T30" fmla="*/ 702 w 1374"/>
              <a:gd name="T31" fmla="*/ 840 h 1098"/>
              <a:gd name="T32" fmla="*/ 618 w 1374"/>
              <a:gd name="T33" fmla="*/ 876 h 1098"/>
              <a:gd name="T34" fmla="*/ 594 w 1374"/>
              <a:gd name="T35" fmla="*/ 924 h 1098"/>
              <a:gd name="T36" fmla="*/ 540 w 1374"/>
              <a:gd name="T37" fmla="*/ 972 h 1098"/>
              <a:gd name="T38" fmla="*/ 528 w 1374"/>
              <a:gd name="T39" fmla="*/ 1014 h 1098"/>
              <a:gd name="T40" fmla="*/ 462 w 1374"/>
              <a:gd name="T41" fmla="*/ 1020 h 1098"/>
              <a:gd name="T42" fmla="*/ 408 w 1374"/>
              <a:gd name="T43" fmla="*/ 1038 h 1098"/>
              <a:gd name="T44" fmla="*/ 360 w 1374"/>
              <a:gd name="T45" fmla="*/ 1080 h 1098"/>
              <a:gd name="T46" fmla="*/ 258 w 1374"/>
              <a:gd name="T47" fmla="*/ 1074 h 1098"/>
              <a:gd name="T48" fmla="*/ 204 w 1374"/>
              <a:gd name="T49" fmla="*/ 1068 h 1098"/>
              <a:gd name="T50" fmla="*/ 162 w 1374"/>
              <a:gd name="T51" fmla="*/ 1008 h 1098"/>
              <a:gd name="T52" fmla="*/ 150 w 1374"/>
              <a:gd name="T53" fmla="*/ 912 h 1098"/>
              <a:gd name="T54" fmla="*/ 132 w 1374"/>
              <a:gd name="T55" fmla="*/ 834 h 1098"/>
              <a:gd name="T56" fmla="*/ 126 w 1374"/>
              <a:gd name="T57" fmla="*/ 774 h 1098"/>
              <a:gd name="T58" fmla="*/ 90 w 1374"/>
              <a:gd name="T59" fmla="*/ 738 h 1098"/>
              <a:gd name="T60" fmla="*/ 90 w 1374"/>
              <a:gd name="T61" fmla="*/ 672 h 1098"/>
              <a:gd name="T62" fmla="*/ 48 w 1374"/>
              <a:gd name="T63" fmla="*/ 594 h 1098"/>
              <a:gd name="T64" fmla="*/ 78 w 1374"/>
              <a:gd name="T65" fmla="*/ 534 h 1098"/>
              <a:gd name="T66" fmla="*/ 72 w 1374"/>
              <a:gd name="T67" fmla="*/ 462 h 1098"/>
              <a:gd name="T68" fmla="*/ 66 w 1374"/>
              <a:gd name="T69" fmla="*/ 390 h 1098"/>
              <a:gd name="T70" fmla="*/ 24 w 1374"/>
              <a:gd name="T71" fmla="*/ 324 h 1098"/>
              <a:gd name="T72" fmla="*/ 48 w 1374"/>
              <a:gd name="T73" fmla="*/ 276 h 1098"/>
              <a:gd name="T74" fmla="*/ 138 w 1374"/>
              <a:gd name="T75" fmla="*/ 210 h 1098"/>
              <a:gd name="T76" fmla="*/ 222 w 1374"/>
              <a:gd name="T77" fmla="*/ 144 h 1098"/>
              <a:gd name="T78" fmla="*/ 318 w 1374"/>
              <a:gd name="T79" fmla="*/ 114 h 1098"/>
              <a:gd name="T80" fmla="*/ 414 w 1374"/>
              <a:gd name="T81" fmla="*/ 78 h 1098"/>
              <a:gd name="T82" fmla="*/ 510 w 1374"/>
              <a:gd name="T83" fmla="*/ 42 h 1098"/>
              <a:gd name="T84" fmla="*/ 624 w 1374"/>
              <a:gd name="T85" fmla="*/ 12 h 1098"/>
              <a:gd name="T86" fmla="*/ 744 w 1374"/>
              <a:gd name="T87" fmla="*/ 24 h 1098"/>
              <a:gd name="T88" fmla="*/ 852 w 1374"/>
              <a:gd name="T89" fmla="*/ 72 h 1098"/>
              <a:gd name="T90" fmla="*/ 948 w 1374"/>
              <a:gd name="T91" fmla="*/ 126 h 1098"/>
              <a:gd name="T92" fmla="*/ 918 w 1374"/>
              <a:gd name="T93" fmla="*/ 126 h 1098"/>
              <a:gd name="T94" fmla="*/ 834 w 1374"/>
              <a:gd name="T95" fmla="*/ 66 h 1098"/>
              <a:gd name="T96" fmla="*/ 756 w 1374"/>
              <a:gd name="T97" fmla="*/ 60 h 1098"/>
              <a:gd name="T98" fmla="*/ 798 w 1374"/>
              <a:gd name="T99" fmla="*/ 150 h 1098"/>
              <a:gd name="T100" fmla="*/ 846 w 1374"/>
              <a:gd name="T101" fmla="*/ 222 h 1098"/>
              <a:gd name="T102" fmla="*/ 846 w 1374"/>
              <a:gd name="T103" fmla="*/ 234 h 1098"/>
              <a:gd name="T104" fmla="*/ 894 w 1374"/>
              <a:gd name="T105" fmla="*/ 318 h 1098"/>
              <a:gd name="T106" fmla="*/ 930 w 1374"/>
              <a:gd name="T107" fmla="*/ 336 h 1098"/>
              <a:gd name="T108" fmla="*/ 972 w 1374"/>
              <a:gd name="T109" fmla="*/ 360 h 1098"/>
              <a:gd name="T110" fmla="*/ 1032 w 1374"/>
              <a:gd name="T111" fmla="*/ 342 h 1098"/>
              <a:gd name="T112" fmla="*/ 1092 w 1374"/>
              <a:gd name="T113" fmla="*/ 342 h 1098"/>
              <a:gd name="T114" fmla="*/ 1218 w 1374"/>
              <a:gd name="T115" fmla="*/ 312 h 1098"/>
              <a:gd name="T116" fmla="*/ 1320 w 1374"/>
              <a:gd name="T117" fmla="*/ 246 h 1098"/>
              <a:gd name="T118" fmla="*/ 1308 w 1374"/>
              <a:gd name="T119" fmla="*/ 264 h 1098"/>
              <a:gd name="T120" fmla="*/ 1230 w 1374"/>
              <a:gd name="T121" fmla="*/ 324 h 1098"/>
              <a:gd name="T122" fmla="*/ 1182 w 1374"/>
              <a:gd name="T123" fmla="*/ 378 h 109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374" h="1098">
                <a:moveTo>
                  <a:pt x="1188" y="396"/>
                </a:moveTo>
                <a:lnTo>
                  <a:pt x="1194" y="396"/>
                </a:lnTo>
                <a:lnTo>
                  <a:pt x="1200" y="396"/>
                </a:lnTo>
                <a:lnTo>
                  <a:pt x="1200" y="402"/>
                </a:lnTo>
                <a:lnTo>
                  <a:pt x="1206" y="402"/>
                </a:lnTo>
                <a:lnTo>
                  <a:pt x="1206" y="408"/>
                </a:lnTo>
                <a:lnTo>
                  <a:pt x="1212" y="408"/>
                </a:lnTo>
                <a:lnTo>
                  <a:pt x="1212" y="414"/>
                </a:lnTo>
                <a:lnTo>
                  <a:pt x="1218" y="414"/>
                </a:lnTo>
                <a:lnTo>
                  <a:pt x="1218" y="420"/>
                </a:lnTo>
                <a:lnTo>
                  <a:pt x="1224" y="426"/>
                </a:lnTo>
                <a:lnTo>
                  <a:pt x="1218" y="426"/>
                </a:lnTo>
                <a:lnTo>
                  <a:pt x="1224" y="432"/>
                </a:lnTo>
                <a:lnTo>
                  <a:pt x="1224" y="438"/>
                </a:lnTo>
                <a:lnTo>
                  <a:pt x="1230" y="438"/>
                </a:lnTo>
                <a:lnTo>
                  <a:pt x="1230" y="444"/>
                </a:lnTo>
                <a:lnTo>
                  <a:pt x="1224" y="450"/>
                </a:lnTo>
                <a:lnTo>
                  <a:pt x="1218" y="450"/>
                </a:lnTo>
                <a:lnTo>
                  <a:pt x="1218" y="456"/>
                </a:lnTo>
                <a:lnTo>
                  <a:pt x="1212" y="456"/>
                </a:lnTo>
                <a:lnTo>
                  <a:pt x="1206" y="456"/>
                </a:lnTo>
                <a:lnTo>
                  <a:pt x="1206" y="462"/>
                </a:lnTo>
                <a:lnTo>
                  <a:pt x="1200" y="462"/>
                </a:lnTo>
                <a:lnTo>
                  <a:pt x="1200" y="468"/>
                </a:lnTo>
                <a:lnTo>
                  <a:pt x="1194" y="468"/>
                </a:lnTo>
                <a:lnTo>
                  <a:pt x="1194" y="474"/>
                </a:lnTo>
                <a:lnTo>
                  <a:pt x="1194" y="480"/>
                </a:lnTo>
                <a:lnTo>
                  <a:pt x="1200" y="480"/>
                </a:lnTo>
                <a:lnTo>
                  <a:pt x="1200" y="486"/>
                </a:lnTo>
                <a:lnTo>
                  <a:pt x="1200" y="492"/>
                </a:lnTo>
                <a:lnTo>
                  <a:pt x="1200" y="498"/>
                </a:lnTo>
                <a:lnTo>
                  <a:pt x="1194" y="498"/>
                </a:lnTo>
                <a:lnTo>
                  <a:pt x="1194" y="504"/>
                </a:lnTo>
                <a:lnTo>
                  <a:pt x="1194" y="510"/>
                </a:lnTo>
                <a:lnTo>
                  <a:pt x="1188" y="510"/>
                </a:lnTo>
                <a:lnTo>
                  <a:pt x="1188" y="516"/>
                </a:lnTo>
                <a:lnTo>
                  <a:pt x="1194" y="516"/>
                </a:lnTo>
                <a:lnTo>
                  <a:pt x="1200" y="528"/>
                </a:lnTo>
                <a:lnTo>
                  <a:pt x="1200" y="534"/>
                </a:lnTo>
                <a:lnTo>
                  <a:pt x="1206" y="534"/>
                </a:lnTo>
                <a:lnTo>
                  <a:pt x="1206" y="540"/>
                </a:lnTo>
                <a:lnTo>
                  <a:pt x="1200" y="540"/>
                </a:lnTo>
                <a:lnTo>
                  <a:pt x="1200" y="546"/>
                </a:lnTo>
                <a:lnTo>
                  <a:pt x="1194" y="546"/>
                </a:lnTo>
                <a:lnTo>
                  <a:pt x="1194" y="552"/>
                </a:lnTo>
                <a:lnTo>
                  <a:pt x="1200" y="552"/>
                </a:lnTo>
                <a:lnTo>
                  <a:pt x="1206" y="558"/>
                </a:lnTo>
                <a:lnTo>
                  <a:pt x="1212" y="558"/>
                </a:lnTo>
                <a:lnTo>
                  <a:pt x="1212" y="564"/>
                </a:lnTo>
                <a:lnTo>
                  <a:pt x="1218" y="564"/>
                </a:lnTo>
                <a:lnTo>
                  <a:pt x="1218" y="558"/>
                </a:lnTo>
                <a:lnTo>
                  <a:pt x="1218" y="564"/>
                </a:lnTo>
                <a:lnTo>
                  <a:pt x="1224" y="564"/>
                </a:lnTo>
                <a:lnTo>
                  <a:pt x="1224" y="570"/>
                </a:lnTo>
                <a:lnTo>
                  <a:pt x="1218" y="570"/>
                </a:lnTo>
                <a:lnTo>
                  <a:pt x="1218" y="576"/>
                </a:lnTo>
                <a:lnTo>
                  <a:pt x="1218" y="582"/>
                </a:lnTo>
                <a:lnTo>
                  <a:pt x="1224" y="582"/>
                </a:lnTo>
                <a:lnTo>
                  <a:pt x="1218" y="582"/>
                </a:lnTo>
                <a:lnTo>
                  <a:pt x="1218" y="588"/>
                </a:lnTo>
                <a:lnTo>
                  <a:pt x="1224" y="588"/>
                </a:lnTo>
                <a:lnTo>
                  <a:pt x="1224" y="594"/>
                </a:lnTo>
                <a:lnTo>
                  <a:pt x="1224" y="588"/>
                </a:lnTo>
                <a:lnTo>
                  <a:pt x="1230" y="588"/>
                </a:lnTo>
                <a:lnTo>
                  <a:pt x="1230" y="582"/>
                </a:lnTo>
                <a:lnTo>
                  <a:pt x="1236" y="582"/>
                </a:lnTo>
                <a:lnTo>
                  <a:pt x="1242" y="582"/>
                </a:lnTo>
                <a:lnTo>
                  <a:pt x="1248" y="582"/>
                </a:lnTo>
                <a:lnTo>
                  <a:pt x="1248" y="588"/>
                </a:lnTo>
                <a:lnTo>
                  <a:pt x="1254" y="588"/>
                </a:lnTo>
                <a:lnTo>
                  <a:pt x="1248" y="588"/>
                </a:lnTo>
                <a:lnTo>
                  <a:pt x="1254" y="588"/>
                </a:lnTo>
                <a:lnTo>
                  <a:pt x="1260" y="594"/>
                </a:lnTo>
                <a:lnTo>
                  <a:pt x="1266" y="594"/>
                </a:lnTo>
                <a:lnTo>
                  <a:pt x="1272" y="594"/>
                </a:lnTo>
                <a:lnTo>
                  <a:pt x="1278" y="594"/>
                </a:lnTo>
                <a:lnTo>
                  <a:pt x="1284" y="594"/>
                </a:lnTo>
                <a:lnTo>
                  <a:pt x="1284" y="600"/>
                </a:lnTo>
                <a:lnTo>
                  <a:pt x="1278" y="600"/>
                </a:lnTo>
                <a:lnTo>
                  <a:pt x="1272" y="606"/>
                </a:lnTo>
                <a:lnTo>
                  <a:pt x="1272" y="612"/>
                </a:lnTo>
                <a:lnTo>
                  <a:pt x="1272" y="618"/>
                </a:lnTo>
                <a:lnTo>
                  <a:pt x="1272" y="624"/>
                </a:lnTo>
                <a:lnTo>
                  <a:pt x="1272" y="630"/>
                </a:lnTo>
                <a:lnTo>
                  <a:pt x="1272" y="636"/>
                </a:lnTo>
                <a:lnTo>
                  <a:pt x="1272" y="642"/>
                </a:lnTo>
                <a:lnTo>
                  <a:pt x="1272" y="648"/>
                </a:lnTo>
                <a:lnTo>
                  <a:pt x="1278" y="648"/>
                </a:lnTo>
                <a:lnTo>
                  <a:pt x="1284" y="648"/>
                </a:lnTo>
                <a:lnTo>
                  <a:pt x="1290" y="648"/>
                </a:lnTo>
                <a:lnTo>
                  <a:pt x="1296" y="648"/>
                </a:lnTo>
                <a:lnTo>
                  <a:pt x="1296" y="654"/>
                </a:lnTo>
                <a:lnTo>
                  <a:pt x="1296" y="648"/>
                </a:lnTo>
                <a:lnTo>
                  <a:pt x="1302" y="648"/>
                </a:lnTo>
                <a:lnTo>
                  <a:pt x="1308" y="648"/>
                </a:lnTo>
                <a:lnTo>
                  <a:pt x="1308" y="642"/>
                </a:lnTo>
                <a:lnTo>
                  <a:pt x="1308" y="636"/>
                </a:lnTo>
                <a:lnTo>
                  <a:pt x="1314" y="636"/>
                </a:lnTo>
                <a:lnTo>
                  <a:pt x="1320" y="636"/>
                </a:lnTo>
                <a:lnTo>
                  <a:pt x="1326" y="630"/>
                </a:lnTo>
                <a:lnTo>
                  <a:pt x="1332" y="630"/>
                </a:lnTo>
                <a:lnTo>
                  <a:pt x="1338" y="630"/>
                </a:lnTo>
                <a:lnTo>
                  <a:pt x="1344" y="630"/>
                </a:lnTo>
                <a:lnTo>
                  <a:pt x="1350" y="630"/>
                </a:lnTo>
                <a:lnTo>
                  <a:pt x="1356" y="630"/>
                </a:lnTo>
                <a:lnTo>
                  <a:pt x="1362" y="630"/>
                </a:lnTo>
                <a:lnTo>
                  <a:pt x="1368" y="630"/>
                </a:lnTo>
                <a:lnTo>
                  <a:pt x="1374" y="630"/>
                </a:lnTo>
                <a:lnTo>
                  <a:pt x="1374" y="636"/>
                </a:lnTo>
                <a:lnTo>
                  <a:pt x="1368" y="636"/>
                </a:lnTo>
                <a:lnTo>
                  <a:pt x="1368" y="642"/>
                </a:lnTo>
                <a:lnTo>
                  <a:pt x="1362" y="642"/>
                </a:lnTo>
                <a:lnTo>
                  <a:pt x="1362" y="648"/>
                </a:lnTo>
                <a:lnTo>
                  <a:pt x="1362" y="654"/>
                </a:lnTo>
                <a:lnTo>
                  <a:pt x="1362" y="666"/>
                </a:lnTo>
                <a:lnTo>
                  <a:pt x="1362" y="672"/>
                </a:lnTo>
                <a:lnTo>
                  <a:pt x="1356" y="672"/>
                </a:lnTo>
                <a:lnTo>
                  <a:pt x="1362" y="678"/>
                </a:lnTo>
                <a:lnTo>
                  <a:pt x="1356" y="678"/>
                </a:lnTo>
                <a:lnTo>
                  <a:pt x="1356" y="684"/>
                </a:lnTo>
                <a:lnTo>
                  <a:pt x="1356" y="690"/>
                </a:lnTo>
                <a:lnTo>
                  <a:pt x="1356" y="696"/>
                </a:lnTo>
                <a:lnTo>
                  <a:pt x="1350" y="696"/>
                </a:lnTo>
                <a:lnTo>
                  <a:pt x="1350" y="702"/>
                </a:lnTo>
                <a:lnTo>
                  <a:pt x="1350" y="708"/>
                </a:lnTo>
                <a:lnTo>
                  <a:pt x="1350" y="714"/>
                </a:lnTo>
                <a:lnTo>
                  <a:pt x="1344" y="714"/>
                </a:lnTo>
                <a:lnTo>
                  <a:pt x="1344" y="720"/>
                </a:lnTo>
                <a:lnTo>
                  <a:pt x="1338" y="720"/>
                </a:lnTo>
                <a:lnTo>
                  <a:pt x="1338" y="726"/>
                </a:lnTo>
                <a:lnTo>
                  <a:pt x="1338" y="732"/>
                </a:lnTo>
                <a:lnTo>
                  <a:pt x="1344" y="738"/>
                </a:lnTo>
                <a:lnTo>
                  <a:pt x="1338" y="750"/>
                </a:lnTo>
                <a:lnTo>
                  <a:pt x="1338" y="756"/>
                </a:lnTo>
                <a:lnTo>
                  <a:pt x="1344" y="762"/>
                </a:lnTo>
                <a:lnTo>
                  <a:pt x="1338" y="762"/>
                </a:lnTo>
                <a:lnTo>
                  <a:pt x="1332" y="762"/>
                </a:lnTo>
                <a:lnTo>
                  <a:pt x="1332" y="756"/>
                </a:lnTo>
                <a:lnTo>
                  <a:pt x="1326" y="756"/>
                </a:lnTo>
                <a:lnTo>
                  <a:pt x="1326" y="750"/>
                </a:lnTo>
                <a:lnTo>
                  <a:pt x="1320" y="750"/>
                </a:lnTo>
                <a:lnTo>
                  <a:pt x="1314" y="744"/>
                </a:lnTo>
                <a:lnTo>
                  <a:pt x="1308" y="744"/>
                </a:lnTo>
                <a:lnTo>
                  <a:pt x="1302" y="744"/>
                </a:lnTo>
                <a:lnTo>
                  <a:pt x="1296" y="744"/>
                </a:lnTo>
                <a:lnTo>
                  <a:pt x="1290" y="744"/>
                </a:lnTo>
                <a:lnTo>
                  <a:pt x="1290" y="738"/>
                </a:lnTo>
                <a:lnTo>
                  <a:pt x="1284" y="738"/>
                </a:lnTo>
                <a:lnTo>
                  <a:pt x="1284" y="744"/>
                </a:lnTo>
                <a:lnTo>
                  <a:pt x="1278" y="738"/>
                </a:lnTo>
                <a:lnTo>
                  <a:pt x="1266" y="744"/>
                </a:lnTo>
                <a:lnTo>
                  <a:pt x="1260" y="750"/>
                </a:lnTo>
                <a:lnTo>
                  <a:pt x="1260" y="756"/>
                </a:lnTo>
                <a:lnTo>
                  <a:pt x="1260" y="762"/>
                </a:lnTo>
                <a:lnTo>
                  <a:pt x="1260" y="768"/>
                </a:lnTo>
                <a:lnTo>
                  <a:pt x="1254" y="774"/>
                </a:lnTo>
                <a:lnTo>
                  <a:pt x="1254" y="780"/>
                </a:lnTo>
                <a:lnTo>
                  <a:pt x="1260" y="780"/>
                </a:lnTo>
                <a:lnTo>
                  <a:pt x="1260" y="786"/>
                </a:lnTo>
                <a:lnTo>
                  <a:pt x="1260" y="792"/>
                </a:lnTo>
                <a:lnTo>
                  <a:pt x="1260" y="798"/>
                </a:lnTo>
                <a:lnTo>
                  <a:pt x="1260" y="804"/>
                </a:lnTo>
                <a:lnTo>
                  <a:pt x="1254" y="804"/>
                </a:lnTo>
                <a:lnTo>
                  <a:pt x="1254" y="810"/>
                </a:lnTo>
                <a:lnTo>
                  <a:pt x="1248" y="810"/>
                </a:lnTo>
                <a:lnTo>
                  <a:pt x="1248" y="816"/>
                </a:lnTo>
                <a:lnTo>
                  <a:pt x="1242" y="822"/>
                </a:lnTo>
                <a:lnTo>
                  <a:pt x="1236" y="828"/>
                </a:lnTo>
                <a:lnTo>
                  <a:pt x="1236" y="834"/>
                </a:lnTo>
                <a:lnTo>
                  <a:pt x="1230" y="834"/>
                </a:lnTo>
                <a:lnTo>
                  <a:pt x="1230" y="840"/>
                </a:lnTo>
                <a:lnTo>
                  <a:pt x="1224" y="846"/>
                </a:lnTo>
                <a:lnTo>
                  <a:pt x="1230" y="846"/>
                </a:lnTo>
                <a:lnTo>
                  <a:pt x="1230" y="852"/>
                </a:lnTo>
                <a:lnTo>
                  <a:pt x="1230" y="858"/>
                </a:lnTo>
                <a:lnTo>
                  <a:pt x="1236" y="858"/>
                </a:lnTo>
                <a:lnTo>
                  <a:pt x="1236" y="864"/>
                </a:lnTo>
                <a:lnTo>
                  <a:pt x="1230" y="864"/>
                </a:lnTo>
                <a:lnTo>
                  <a:pt x="1230" y="870"/>
                </a:lnTo>
                <a:lnTo>
                  <a:pt x="1230" y="876"/>
                </a:lnTo>
                <a:lnTo>
                  <a:pt x="1230" y="882"/>
                </a:lnTo>
                <a:lnTo>
                  <a:pt x="1230" y="888"/>
                </a:lnTo>
                <a:lnTo>
                  <a:pt x="1224" y="888"/>
                </a:lnTo>
                <a:lnTo>
                  <a:pt x="1218" y="888"/>
                </a:lnTo>
                <a:lnTo>
                  <a:pt x="1212" y="888"/>
                </a:lnTo>
                <a:lnTo>
                  <a:pt x="1212" y="894"/>
                </a:lnTo>
                <a:lnTo>
                  <a:pt x="1212" y="900"/>
                </a:lnTo>
                <a:lnTo>
                  <a:pt x="1206" y="906"/>
                </a:lnTo>
                <a:lnTo>
                  <a:pt x="1200" y="906"/>
                </a:lnTo>
                <a:lnTo>
                  <a:pt x="1200" y="912"/>
                </a:lnTo>
                <a:lnTo>
                  <a:pt x="1194" y="918"/>
                </a:lnTo>
                <a:lnTo>
                  <a:pt x="1194" y="924"/>
                </a:lnTo>
                <a:lnTo>
                  <a:pt x="1200" y="924"/>
                </a:lnTo>
                <a:lnTo>
                  <a:pt x="1200" y="930"/>
                </a:lnTo>
                <a:lnTo>
                  <a:pt x="1194" y="930"/>
                </a:lnTo>
                <a:lnTo>
                  <a:pt x="1182" y="930"/>
                </a:lnTo>
                <a:lnTo>
                  <a:pt x="1182" y="924"/>
                </a:lnTo>
                <a:lnTo>
                  <a:pt x="1182" y="930"/>
                </a:lnTo>
                <a:lnTo>
                  <a:pt x="1176" y="924"/>
                </a:lnTo>
                <a:lnTo>
                  <a:pt x="1176" y="930"/>
                </a:lnTo>
                <a:lnTo>
                  <a:pt x="1170" y="930"/>
                </a:lnTo>
                <a:lnTo>
                  <a:pt x="1164" y="930"/>
                </a:lnTo>
                <a:lnTo>
                  <a:pt x="1158" y="930"/>
                </a:lnTo>
                <a:lnTo>
                  <a:pt x="1158" y="936"/>
                </a:lnTo>
                <a:lnTo>
                  <a:pt x="1158" y="930"/>
                </a:lnTo>
                <a:lnTo>
                  <a:pt x="1158" y="936"/>
                </a:lnTo>
                <a:lnTo>
                  <a:pt x="1152" y="936"/>
                </a:lnTo>
                <a:lnTo>
                  <a:pt x="1146" y="936"/>
                </a:lnTo>
                <a:lnTo>
                  <a:pt x="1140" y="936"/>
                </a:lnTo>
                <a:lnTo>
                  <a:pt x="1134" y="936"/>
                </a:lnTo>
                <a:lnTo>
                  <a:pt x="1128" y="942"/>
                </a:lnTo>
                <a:lnTo>
                  <a:pt x="1122" y="942"/>
                </a:lnTo>
                <a:lnTo>
                  <a:pt x="1116" y="942"/>
                </a:lnTo>
                <a:lnTo>
                  <a:pt x="1110" y="942"/>
                </a:lnTo>
                <a:lnTo>
                  <a:pt x="1104" y="942"/>
                </a:lnTo>
                <a:lnTo>
                  <a:pt x="1104" y="948"/>
                </a:lnTo>
                <a:lnTo>
                  <a:pt x="1098" y="948"/>
                </a:lnTo>
                <a:lnTo>
                  <a:pt x="1098" y="954"/>
                </a:lnTo>
                <a:lnTo>
                  <a:pt x="1098" y="948"/>
                </a:lnTo>
                <a:lnTo>
                  <a:pt x="1098" y="942"/>
                </a:lnTo>
                <a:lnTo>
                  <a:pt x="1092" y="942"/>
                </a:lnTo>
                <a:lnTo>
                  <a:pt x="1086" y="942"/>
                </a:lnTo>
                <a:lnTo>
                  <a:pt x="1086" y="936"/>
                </a:lnTo>
                <a:lnTo>
                  <a:pt x="1080" y="936"/>
                </a:lnTo>
                <a:lnTo>
                  <a:pt x="1074" y="936"/>
                </a:lnTo>
                <a:lnTo>
                  <a:pt x="1068" y="936"/>
                </a:lnTo>
                <a:lnTo>
                  <a:pt x="1056" y="936"/>
                </a:lnTo>
                <a:lnTo>
                  <a:pt x="1044" y="936"/>
                </a:lnTo>
                <a:lnTo>
                  <a:pt x="1032" y="936"/>
                </a:lnTo>
                <a:lnTo>
                  <a:pt x="1026" y="936"/>
                </a:lnTo>
                <a:lnTo>
                  <a:pt x="1026" y="930"/>
                </a:lnTo>
                <a:lnTo>
                  <a:pt x="1020" y="924"/>
                </a:lnTo>
                <a:lnTo>
                  <a:pt x="1014" y="918"/>
                </a:lnTo>
                <a:lnTo>
                  <a:pt x="1014" y="912"/>
                </a:lnTo>
                <a:lnTo>
                  <a:pt x="1014" y="906"/>
                </a:lnTo>
                <a:lnTo>
                  <a:pt x="1014" y="900"/>
                </a:lnTo>
                <a:lnTo>
                  <a:pt x="1020" y="900"/>
                </a:lnTo>
                <a:lnTo>
                  <a:pt x="1020" y="894"/>
                </a:lnTo>
                <a:lnTo>
                  <a:pt x="1020" y="888"/>
                </a:lnTo>
                <a:lnTo>
                  <a:pt x="1026" y="888"/>
                </a:lnTo>
                <a:lnTo>
                  <a:pt x="1026" y="882"/>
                </a:lnTo>
                <a:lnTo>
                  <a:pt x="1026" y="876"/>
                </a:lnTo>
                <a:lnTo>
                  <a:pt x="1026" y="870"/>
                </a:lnTo>
                <a:lnTo>
                  <a:pt x="1026" y="864"/>
                </a:lnTo>
                <a:lnTo>
                  <a:pt x="1020" y="864"/>
                </a:lnTo>
                <a:lnTo>
                  <a:pt x="1014" y="870"/>
                </a:lnTo>
                <a:lnTo>
                  <a:pt x="1008" y="876"/>
                </a:lnTo>
                <a:lnTo>
                  <a:pt x="1002" y="882"/>
                </a:lnTo>
                <a:lnTo>
                  <a:pt x="1002" y="876"/>
                </a:lnTo>
                <a:lnTo>
                  <a:pt x="996" y="876"/>
                </a:lnTo>
                <a:lnTo>
                  <a:pt x="996" y="882"/>
                </a:lnTo>
                <a:lnTo>
                  <a:pt x="990" y="882"/>
                </a:lnTo>
                <a:lnTo>
                  <a:pt x="990" y="876"/>
                </a:lnTo>
                <a:lnTo>
                  <a:pt x="984" y="876"/>
                </a:lnTo>
                <a:lnTo>
                  <a:pt x="984" y="870"/>
                </a:lnTo>
                <a:lnTo>
                  <a:pt x="978" y="870"/>
                </a:lnTo>
                <a:lnTo>
                  <a:pt x="978" y="876"/>
                </a:lnTo>
                <a:lnTo>
                  <a:pt x="972" y="876"/>
                </a:lnTo>
                <a:lnTo>
                  <a:pt x="972" y="870"/>
                </a:lnTo>
                <a:lnTo>
                  <a:pt x="972" y="876"/>
                </a:lnTo>
                <a:lnTo>
                  <a:pt x="966" y="882"/>
                </a:lnTo>
                <a:lnTo>
                  <a:pt x="966" y="888"/>
                </a:lnTo>
                <a:lnTo>
                  <a:pt x="960" y="894"/>
                </a:lnTo>
                <a:lnTo>
                  <a:pt x="954" y="894"/>
                </a:lnTo>
                <a:lnTo>
                  <a:pt x="948" y="894"/>
                </a:lnTo>
                <a:lnTo>
                  <a:pt x="942" y="894"/>
                </a:lnTo>
                <a:lnTo>
                  <a:pt x="936" y="894"/>
                </a:lnTo>
                <a:lnTo>
                  <a:pt x="930" y="894"/>
                </a:lnTo>
                <a:lnTo>
                  <a:pt x="936" y="894"/>
                </a:lnTo>
                <a:lnTo>
                  <a:pt x="936" y="900"/>
                </a:lnTo>
                <a:lnTo>
                  <a:pt x="936" y="906"/>
                </a:lnTo>
                <a:lnTo>
                  <a:pt x="936" y="912"/>
                </a:lnTo>
                <a:lnTo>
                  <a:pt x="930" y="912"/>
                </a:lnTo>
                <a:lnTo>
                  <a:pt x="924" y="912"/>
                </a:lnTo>
                <a:lnTo>
                  <a:pt x="918" y="906"/>
                </a:lnTo>
                <a:lnTo>
                  <a:pt x="912" y="894"/>
                </a:lnTo>
                <a:lnTo>
                  <a:pt x="906" y="900"/>
                </a:lnTo>
                <a:lnTo>
                  <a:pt x="900" y="894"/>
                </a:lnTo>
                <a:lnTo>
                  <a:pt x="900" y="888"/>
                </a:lnTo>
                <a:lnTo>
                  <a:pt x="900" y="882"/>
                </a:lnTo>
                <a:lnTo>
                  <a:pt x="894" y="882"/>
                </a:lnTo>
                <a:lnTo>
                  <a:pt x="888" y="882"/>
                </a:lnTo>
                <a:lnTo>
                  <a:pt x="882" y="882"/>
                </a:lnTo>
                <a:lnTo>
                  <a:pt x="882" y="888"/>
                </a:lnTo>
                <a:lnTo>
                  <a:pt x="882" y="894"/>
                </a:lnTo>
                <a:lnTo>
                  <a:pt x="876" y="894"/>
                </a:lnTo>
                <a:lnTo>
                  <a:pt x="876" y="888"/>
                </a:lnTo>
                <a:lnTo>
                  <a:pt x="876" y="894"/>
                </a:lnTo>
                <a:lnTo>
                  <a:pt x="870" y="894"/>
                </a:lnTo>
                <a:lnTo>
                  <a:pt x="864" y="894"/>
                </a:lnTo>
                <a:lnTo>
                  <a:pt x="858" y="894"/>
                </a:lnTo>
                <a:lnTo>
                  <a:pt x="858" y="888"/>
                </a:lnTo>
                <a:lnTo>
                  <a:pt x="858" y="894"/>
                </a:lnTo>
                <a:lnTo>
                  <a:pt x="852" y="894"/>
                </a:lnTo>
                <a:lnTo>
                  <a:pt x="846" y="894"/>
                </a:lnTo>
                <a:lnTo>
                  <a:pt x="840" y="894"/>
                </a:lnTo>
                <a:lnTo>
                  <a:pt x="834" y="894"/>
                </a:lnTo>
                <a:lnTo>
                  <a:pt x="828" y="894"/>
                </a:lnTo>
                <a:lnTo>
                  <a:pt x="822" y="894"/>
                </a:lnTo>
                <a:lnTo>
                  <a:pt x="816" y="894"/>
                </a:lnTo>
                <a:lnTo>
                  <a:pt x="810" y="894"/>
                </a:lnTo>
                <a:lnTo>
                  <a:pt x="804" y="894"/>
                </a:lnTo>
                <a:lnTo>
                  <a:pt x="798" y="894"/>
                </a:lnTo>
                <a:lnTo>
                  <a:pt x="792" y="894"/>
                </a:lnTo>
                <a:lnTo>
                  <a:pt x="786" y="894"/>
                </a:lnTo>
                <a:lnTo>
                  <a:pt x="786" y="888"/>
                </a:lnTo>
                <a:lnTo>
                  <a:pt x="786" y="882"/>
                </a:lnTo>
                <a:lnTo>
                  <a:pt x="792" y="876"/>
                </a:lnTo>
                <a:lnTo>
                  <a:pt x="786" y="876"/>
                </a:lnTo>
                <a:lnTo>
                  <a:pt x="786" y="870"/>
                </a:lnTo>
                <a:lnTo>
                  <a:pt x="786" y="864"/>
                </a:lnTo>
                <a:lnTo>
                  <a:pt x="786" y="858"/>
                </a:lnTo>
                <a:lnTo>
                  <a:pt x="780" y="858"/>
                </a:lnTo>
                <a:lnTo>
                  <a:pt x="774" y="858"/>
                </a:lnTo>
                <a:lnTo>
                  <a:pt x="774" y="864"/>
                </a:lnTo>
                <a:lnTo>
                  <a:pt x="768" y="864"/>
                </a:lnTo>
                <a:lnTo>
                  <a:pt x="762" y="864"/>
                </a:lnTo>
                <a:lnTo>
                  <a:pt x="762" y="858"/>
                </a:lnTo>
                <a:lnTo>
                  <a:pt x="762" y="864"/>
                </a:lnTo>
                <a:lnTo>
                  <a:pt x="756" y="864"/>
                </a:lnTo>
                <a:lnTo>
                  <a:pt x="750" y="870"/>
                </a:lnTo>
                <a:lnTo>
                  <a:pt x="750" y="864"/>
                </a:lnTo>
                <a:lnTo>
                  <a:pt x="750" y="858"/>
                </a:lnTo>
                <a:lnTo>
                  <a:pt x="750" y="852"/>
                </a:lnTo>
                <a:lnTo>
                  <a:pt x="744" y="852"/>
                </a:lnTo>
                <a:lnTo>
                  <a:pt x="744" y="858"/>
                </a:lnTo>
                <a:lnTo>
                  <a:pt x="738" y="858"/>
                </a:lnTo>
                <a:lnTo>
                  <a:pt x="732" y="858"/>
                </a:lnTo>
                <a:lnTo>
                  <a:pt x="732" y="852"/>
                </a:lnTo>
                <a:lnTo>
                  <a:pt x="732" y="846"/>
                </a:lnTo>
                <a:lnTo>
                  <a:pt x="726" y="846"/>
                </a:lnTo>
                <a:lnTo>
                  <a:pt x="720" y="846"/>
                </a:lnTo>
                <a:lnTo>
                  <a:pt x="714" y="852"/>
                </a:lnTo>
                <a:lnTo>
                  <a:pt x="708" y="852"/>
                </a:lnTo>
                <a:lnTo>
                  <a:pt x="702" y="846"/>
                </a:lnTo>
                <a:lnTo>
                  <a:pt x="702" y="840"/>
                </a:lnTo>
                <a:lnTo>
                  <a:pt x="696" y="840"/>
                </a:lnTo>
                <a:lnTo>
                  <a:pt x="690" y="840"/>
                </a:lnTo>
                <a:lnTo>
                  <a:pt x="690" y="846"/>
                </a:lnTo>
                <a:lnTo>
                  <a:pt x="690" y="852"/>
                </a:lnTo>
                <a:lnTo>
                  <a:pt x="690" y="858"/>
                </a:lnTo>
                <a:lnTo>
                  <a:pt x="684" y="858"/>
                </a:lnTo>
                <a:lnTo>
                  <a:pt x="684" y="864"/>
                </a:lnTo>
                <a:lnTo>
                  <a:pt x="684" y="870"/>
                </a:lnTo>
                <a:lnTo>
                  <a:pt x="684" y="876"/>
                </a:lnTo>
                <a:lnTo>
                  <a:pt x="678" y="882"/>
                </a:lnTo>
                <a:lnTo>
                  <a:pt x="672" y="882"/>
                </a:lnTo>
                <a:lnTo>
                  <a:pt x="672" y="888"/>
                </a:lnTo>
                <a:lnTo>
                  <a:pt x="666" y="888"/>
                </a:lnTo>
                <a:lnTo>
                  <a:pt x="660" y="888"/>
                </a:lnTo>
                <a:lnTo>
                  <a:pt x="660" y="882"/>
                </a:lnTo>
                <a:lnTo>
                  <a:pt x="642" y="882"/>
                </a:lnTo>
                <a:lnTo>
                  <a:pt x="636" y="876"/>
                </a:lnTo>
                <a:lnTo>
                  <a:pt x="630" y="876"/>
                </a:lnTo>
                <a:lnTo>
                  <a:pt x="630" y="870"/>
                </a:lnTo>
                <a:lnTo>
                  <a:pt x="624" y="876"/>
                </a:lnTo>
                <a:lnTo>
                  <a:pt x="618" y="876"/>
                </a:lnTo>
                <a:lnTo>
                  <a:pt x="612" y="876"/>
                </a:lnTo>
                <a:lnTo>
                  <a:pt x="612" y="870"/>
                </a:lnTo>
                <a:lnTo>
                  <a:pt x="606" y="870"/>
                </a:lnTo>
                <a:lnTo>
                  <a:pt x="600" y="870"/>
                </a:lnTo>
                <a:lnTo>
                  <a:pt x="600" y="876"/>
                </a:lnTo>
                <a:lnTo>
                  <a:pt x="606" y="876"/>
                </a:lnTo>
                <a:lnTo>
                  <a:pt x="612" y="876"/>
                </a:lnTo>
                <a:lnTo>
                  <a:pt x="612" y="882"/>
                </a:lnTo>
                <a:lnTo>
                  <a:pt x="612" y="888"/>
                </a:lnTo>
                <a:lnTo>
                  <a:pt x="618" y="888"/>
                </a:lnTo>
                <a:lnTo>
                  <a:pt x="624" y="894"/>
                </a:lnTo>
                <a:lnTo>
                  <a:pt x="618" y="900"/>
                </a:lnTo>
                <a:lnTo>
                  <a:pt x="618" y="906"/>
                </a:lnTo>
                <a:lnTo>
                  <a:pt x="612" y="906"/>
                </a:lnTo>
                <a:lnTo>
                  <a:pt x="606" y="906"/>
                </a:lnTo>
                <a:lnTo>
                  <a:pt x="606" y="912"/>
                </a:lnTo>
                <a:lnTo>
                  <a:pt x="606" y="918"/>
                </a:lnTo>
                <a:lnTo>
                  <a:pt x="600" y="918"/>
                </a:lnTo>
                <a:lnTo>
                  <a:pt x="600" y="924"/>
                </a:lnTo>
                <a:lnTo>
                  <a:pt x="594" y="918"/>
                </a:lnTo>
                <a:lnTo>
                  <a:pt x="594" y="924"/>
                </a:lnTo>
                <a:lnTo>
                  <a:pt x="594" y="918"/>
                </a:lnTo>
                <a:lnTo>
                  <a:pt x="594" y="924"/>
                </a:lnTo>
                <a:lnTo>
                  <a:pt x="588" y="924"/>
                </a:lnTo>
                <a:lnTo>
                  <a:pt x="582" y="924"/>
                </a:lnTo>
                <a:lnTo>
                  <a:pt x="582" y="930"/>
                </a:lnTo>
                <a:lnTo>
                  <a:pt x="576" y="930"/>
                </a:lnTo>
                <a:lnTo>
                  <a:pt x="576" y="936"/>
                </a:lnTo>
                <a:lnTo>
                  <a:pt x="570" y="936"/>
                </a:lnTo>
                <a:lnTo>
                  <a:pt x="570" y="930"/>
                </a:lnTo>
                <a:lnTo>
                  <a:pt x="564" y="924"/>
                </a:lnTo>
                <a:lnTo>
                  <a:pt x="564" y="930"/>
                </a:lnTo>
                <a:lnTo>
                  <a:pt x="558" y="936"/>
                </a:lnTo>
                <a:lnTo>
                  <a:pt x="552" y="936"/>
                </a:lnTo>
                <a:lnTo>
                  <a:pt x="552" y="942"/>
                </a:lnTo>
                <a:lnTo>
                  <a:pt x="552" y="948"/>
                </a:lnTo>
                <a:lnTo>
                  <a:pt x="546" y="948"/>
                </a:lnTo>
                <a:lnTo>
                  <a:pt x="546" y="954"/>
                </a:lnTo>
                <a:lnTo>
                  <a:pt x="546" y="960"/>
                </a:lnTo>
                <a:lnTo>
                  <a:pt x="546" y="966"/>
                </a:lnTo>
                <a:lnTo>
                  <a:pt x="540" y="966"/>
                </a:lnTo>
                <a:lnTo>
                  <a:pt x="540" y="972"/>
                </a:lnTo>
                <a:lnTo>
                  <a:pt x="540" y="978"/>
                </a:lnTo>
                <a:lnTo>
                  <a:pt x="546" y="978"/>
                </a:lnTo>
                <a:lnTo>
                  <a:pt x="540" y="978"/>
                </a:lnTo>
                <a:lnTo>
                  <a:pt x="540" y="984"/>
                </a:lnTo>
                <a:lnTo>
                  <a:pt x="540" y="990"/>
                </a:lnTo>
                <a:lnTo>
                  <a:pt x="546" y="990"/>
                </a:lnTo>
                <a:lnTo>
                  <a:pt x="552" y="990"/>
                </a:lnTo>
                <a:lnTo>
                  <a:pt x="552" y="996"/>
                </a:lnTo>
                <a:lnTo>
                  <a:pt x="552" y="1002"/>
                </a:lnTo>
                <a:lnTo>
                  <a:pt x="546" y="1002"/>
                </a:lnTo>
                <a:lnTo>
                  <a:pt x="540" y="1002"/>
                </a:lnTo>
                <a:lnTo>
                  <a:pt x="534" y="1002"/>
                </a:lnTo>
                <a:lnTo>
                  <a:pt x="534" y="1008"/>
                </a:lnTo>
                <a:lnTo>
                  <a:pt x="528" y="1008"/>
                </a:lnTo>
                <a:lnTo>
                  <a:pt x="528" y="1002"/>
                </a:lnTo>
                <a:lnTo>
                  <a:pt x="522" y="1002"/>
                </a:lnTo>
                <a:lnTo>
                  <a:pt x="516" y="1002"/>
                </a:lnTo>
                <a:lnTo>
                  <a:pt x="516" y="1008"/>
                </a:lnTo>
                <a:lnTo>
                  <a:pt x="516" y="1014"/>
                </a:lnTo>
                <a:lnTo>
                  <a:pt x="522" y="1014"/>
                </a:lnTo>
                <a:lnTo>
                  <a:pt x="528" y="1014"/>
                </a:lnTo>
                <a:lnTo>
                  <a:pt x="528" y="1020"/>
                </a:lnTo>
                <a:lnTo>
                  <a:pt x="528" y="1026"/>
                </a:lnTo>
                <a:lnTo>
                  <a:pt x="522" y="1026"/>
                </a:lnTo>
                <a:lnTo>
                  <a:pt x="516" y="1026"/>
                </a:lnTo>
                <a:lnTo>
                  <a:pt x="516" y="1020"/>
                </a:lnTo>
                <a:lnTo>
                  <a:pt x="510" y="1020"/>
                </a:lnTo>
                <a:lnTo>
                  <a:pt x="510" y="1014"/>
                </a:lnTo>
                <a:lnTo>
                  <a:pt x="504" y="1014"/>
                </a:lnTo>
                <a:lnTo>
                  <a:pt x="498" y="1014"/>
                </a:lnTo>
                <a:lnTo>
                  <a:pt x="498" y="1008"/>
                </a:lnTo>
                <a:lnTo>
                  <a:pt x="492" y="1008"/>
                </a:lnTo>
                <a:lnTo>
                  <a:pt x="486" y="1008"/>
                </a:lnTo>
                <a:lnTo>
                  <a:pt x="486" y="1014"/>
                </a:lnTo>
                <a:lnTo>
                  <a:pt x="480" y="1020"/>
                </a:lnTo>
                <a:lnTo>
                  <a:pt x="480" y="1026"/>
                </a:lnTo>
                <a:lnTo>
                  <a:pt x="474" y="1026"/>
                </a:lnTo>
                <a:lnTo>
                  <a:pt x="474" y="1020"/>
                </a:lnTo>
                <a:lnTo>
                  <a:pt x="468" y="1020"/>
                </a:lnTo>
                <a:lnTo>
                  <a:pt x="468" y="1026"/>
                </a:lnTo>
                <a:lnTo>
                  <a:pt x="462" y="1026"/>
                </a:lnTo>
                <a:lnTo>
                  <a:pt x="462" y="1020"/>
                </a:lnTo>
                <a:lnTo>
                  <a:pt x="456" y="1014"/>
                </a:lnTo>
                <a:lnTo>
                  <a:pt x="456" y="1008"/>
                </a:lnTo>
                <a:lnTo>
                  <a:pt x="456" y="1002"/>
                </a:lnTo>
                <a:lnTo>
                  <a:pt x="450" y="1002"/>
                </a:lnTo>
                <a:lnTo>
                  <a:pt x="450" y="996"/>
                </a:lnTo>
                <a:lnTo>
                  <a:pt x="444" y="996"/>
                </a:lnTo>
                <a:lnTo>
                  <a:pt x="444" y="1002"/>
                </a:lnTo>
                <a:lnTo>
                  <a:pt x="438" y="1002"/>
                </a:lnTo>
                <a:lnTo>
                  <a:pt x="438" y="1008"/>
                </a:lnTo>
                <a:lnTo>
                  <a:pt x="438" y="1002"/>
                </a:lnTo>
                <a:lnTo>
                  <a:pt x="438" y="1008"/>
                </a:lnTo>
                <a:lnTo>
                  <a:pt x="432" y="1008"/>
                </a:lnTo>
                <a:lnTo>
                  <a:pt x="426" y="1008"/>
                </a:lnTo>
                <a:lnTo>
                  <a:pt x="420" y="1008"/>
                </a:lnTo>
                <a:lnTo>
                  <a:pt x="420" y="1014"/>
                </a:lnTo>
                <a:lnTo>
                  <a:pt x="414" y="1014"/>
                </a:lnTo>
                <a:lnTo>
                  <a:pt x="414" y="1020"/>
                </a:lnTo>
                <a:lnTo>
                  <a:pt x="408" y="1020"/>
                </a:lnTo>
                <a:lnTo>
                  <a:pt x="408" y="1026"/>
                </a:lnTo>
                <a:lnTo>
                  <a:pt x="408" y="1032"/>
                </a:lnTo>
                <a:lnTo>
                  <a:pt x="408" y="1038"/>
                </a:lnTo>
                <a:lnTo>
                  <a:pt x="408" y="1044"/>
                </a:lnTo>
                <a:lnTo>
                  <a:pt x="408" y="1050"/>
                </a:lnTo>
                <a:lnTo>
                  <a:pt x="414" y="1050"/>
                </a:lnTo>
                <a:lnTo>
                  <a:pt x="414" y="1056"/>
                </a:lnTo>
                <a:lnTo>
                  <a:pt x="414" y="1062"/>
                </a:lnTo>
                <a:lnTo>
                  <a:pt x="414" y="1068"/>
                </a:lnTo>
                <a:lnTo>
                  <a:pt x="408" y="1068"/>
                </a:lnTo>
                <a:lnTo>
                  <a:pt x="408" y="1074"/>
                </a:lnTo>
                <a:lnTo>
                  <a:pt x="408" y="1080"/>
                </a:lnTo>
                <a:lnTo>
                  <a:pt x="402" y="1080"/>
                </a:lnTo>
                <a:lnTo>
                  <a:pt x="402" y="1086"/>
                </a:lnTo>
                <a:lnTo>
                  <a:pt x="402" y="1092"/>
                </a:lnTo>
                <a:lnTo>
                  <a:pt x="396" y="1098"/>
                </a:lnTo>
                <a:lnTo>
                  <a:pt x="390" y="1098"/>
                </a:lnTo>
                <a:lnTo>
                  <a:pt x="384" y="1098"/>
                </a:lnTo>
                <a:lnTo>
                  <a:pt x="378" y="1098"/>
                </a:lnTo>
                <a:lnTo>
                  <a:pt x="372" y="1098"/>
                </a:lnTo>
                <a:lnTo>
                  <a:pt x="366" y="1092"/>
                </a:lnTo>
                <a:lnTo>
                  <a:pt x="366" y="1086"/>
                </a:lnTo>
                <a:lnTo>
                  <a:pt x="360" y="1086"/>
                </a:lnTo>
                <a:lnTo>
                  <a:pt x="360" y="1080"/>
                </a:lnTo>
                <a:lnTo>
                  <a:pt x="360" y="1074"/>
                </a:lnTo>
                <a:lnTo>
                  <a:pt x="354" y="1074"/>
                </a:lnTo>
                <a:lnTo>
                  <a:pt x="348" y="1074"/>
                </a:lnTo>
                <a:lnTo>
                  <a:pt x="348" y="1068"/>
                </a:lnTo>
                <a:lnTo>
                  <a:pt x="342" y="1068"/>
                </a:lnTo>
                <a:lnTo>
                  <a:pt x="336" y="1068"/>
                </a:lnTo>
                <a:lnTo>
                  <a:pt x="336" y="1074"/>
                </a:lnTo>
                <a:lnTo>
                  <a:pt x="330" y="1074"/>
                </a:lnTo>
                <a:lnTo>
                  <a:pt x="324" y="1074"/>
                </a:lnTo>
                <a:lnTo>
                  <a:pt x="318" y="1074"/>
                </a:lnTo>
                <a:lnTo>
                  <a:pt x="312" y="1074"/>
                </a:lnTo>
                <a:lnTo>
                  <a:pt x="306" y="1074"/>
                </a:lnTo>
                <a:lnTo>
                  <a:pt x="300" y="1074"/>
                </a:lnTo>
                <a:lnTo>
                  <a:pt x="294" y="1080"/>
                </a:lnTo>
                <a:lnTo>
                  <a:pt x="288" y="1080"/>
                </a:lnTo>
                <a:lnTo>
                  <a:pt x="282" y="1080"/>
                </a:lnTo>
                <a:lnTo>
                  <a:pt x="282" y="1074"/>
                </a:lnTo>
                <a:lnTo>
                  <a:pt x="276" y="1074"/>
                </a:lnTo>
                <a:lnTo>
                  <a:pt x="270" y="1074"/>
                </a:lnTo>
                <a:lnTo>
                  <a:pt x="264" y="1074"/>
                </a:lnTo>
                <a:lnTo>
                  <a:pt x="258" y="1074"/>
                </a:lnTo>
                <a:lnTo>
                  <a:pt x="258" y="1080"/>
                </a:lnTo>
                <a:lnTo>
                  <a:pt x="252" y="1080"/>
                </a:lnTo>
                <a:lnTo>
                  <a:pt x="252" y="1086"/>
                </a:lnTo>
                <a:lnTo>
                  <a:pt x="246" y="1086"/>
                </a:lnTo>
                <a:lnTo>
                  <a:pt x="246" y="1092"/>
                </a:lnTo>
                <a:lnTo>
                  <a:pt x="240" y="1092"/>
                </a:lnTo>
                <a:lnTo>
                  <a:pt x="234" y="1098"/>
                </a:lnTo>
                <a:lnTo>
                  <a:pt x="228" y="1098"/>
                </a:lnTo>
                <a:lnTo>
                  <a:pt x="228" y="1092"/>
                </a:lnTo>
                <a:lnTo>
                  <a:pt x="222" y="1092"/>
                </a:lnTo>
                <a:lnTo>
                  <a:pt x="222" y="1098"/>
                </a:lnTo>
                <a:lnTo>
                  <a:pt x="216" y="1098"/>
                </a:lnTo>
                <a:lnTo>
                  <a:pt x="216" y="1092"/>
                </a:lnTo>
                <a:lnTo>
                  <a:pt x="210" y="1092"/>
                </a:lnTo>
                <a:lnTo>
                  <a:pt x="216" y="1092"/>
                </a:lnTo>
                <a:lnTo>
                  <a:pt x="216" y="1086"/>
                </a:lnTo>
                <a:lnTo>
                  <a:pt x="216" y="1080"/>
                </a:lnTo>
                <a:lnTo>
                  <a:pt x="216" y="1074"/>
                </a:lnTo>
                <a:lnTo>
                  <a:pt x="216" y="1068"/>
                </a:lnTo>
                <a:lnTo>
                  <a:pt x="210" y="1068"/>
                </a:lnTo>
                <a:lnTo>
                  <a:pt x="204" y="1068"/>
                </a:lnTo>
                <a:lnTo>
                  <a:pt x="204" y="1074"/>
                </a:lnTo>
                <a:lnTo>
                  <a:pt x="198" y="1074"/>
                </a:lnTo>
                <a:lnTo>
                  <a:pt x="198" y="1080"/>
                </a:lnTo>
                <a:lnTo>
                  <a:pt x="192" y="1080"/>
                </a:lnTo>
                <a:lnTo>
                  <a:pt x="192" y="1074"/>
                </a:lnTo>
                <a:lnTo>
                  <a:pt x="192" y="1068"/>
                </a:lnTo>
                <a:lnTo>
                  <a:pt x="192" y="1062"/>
                </a:lnTo>
                <a:lnTo>
                  <a:pt x="186" y="1062"/>
                </a:lnTo>
                <a:lnTo>
                  <a:pt x="186" y="1056"/>
                </a:lnTo>
                <a:lnTo>
                  <a:pt x="186" y="1050"/>
                </a:lnTo>
                <a:lnTo>
                  <a:pt x="186" y="1044"/>
                </a:lnTo>
                <a:lnTo>
                  <a:pt x="180" y="1044"/>
                </a:lnTo>
                <a:lnTo>
                  <a:pt x="180" y="1038"/>
                </a:lnTo>
                <a:lnTo>
                  <a:pt x="174" y="1038"/>
                </a:lnTo>
                <a:lnTo>
                  <a:pt x="174" y="1032"/>
                </a:lnTo>
                <a:lnTo>
                  <a:pt x="168" y="1032"/>
                </a:lnTo>
                <a:lnTo>
                  <a:pt x="168" y="1026"/>
                </a:lnTo>
                <a:lnTo>
                  <a:pt x="168" y="1020"/>
                </a:lnTo>
                <a:lnTo>
                  <a:pt x="162" y="1020"/>
                </a:lnTo>
                <a:lnTo>
                  <a:pt x="162" y="1014"/>
                </a:lnTo>
                <a:lnTo>
                  <a:pt x="162" y="1008"/>
                </a:lnTo>
                <a:lnTo>
                  <a:pt x="162" y="1002"/>
                </a:lnTo>
                <a:lnTo>
                  <a:pt x="156" y="1002"/>
                </a:lnTo>
                <a:lnTo>
                  <a:pt x="156" y="996"/>
                </a:lnTo>
                <a:lnTo>
                  <a:pt x="156" y="990"/>
                </a:lnTo>
                <a:lnTo>
                  <a:pt x="150" y="990"/>
                </a:lnTo>
                <a:lnTo>
                  <a:pt x="150" y="984"/>
                </a:lnTo>
                <a:lnTo>
                  <a:pt x="150" y="978"/>
                </a:lnTo>
                <a:lnTo>
                  <a:pt x="150" y="972"/>
                </a:lnTo>
                <a:lnTo>
                  <a:pt x="144" y="966"/>
                </a:lnTo>
                <a:lnTo>
                  <a:pt x="144" y="960"/>
                </a:lnTo>
                <a:lnTo>
                  <a:pt x="144" y="954"/>
                </a:lnTo>
                <a:lnTo>
                  <a:pt x="144" y="948"/>
                </a:lnTo>
                <a:lnTo>
                  <a:pt x="144" y="942"/>
                </a:lnTo>
                <a:lnTo>
                  <a:pt x="138" y="942"/>
                </a:lnTo>
                <a:lnTo>
                  <a:pt x="138" y="936"/>
                </a:lnTo>
                <a:lnTo>
                  <a:pt x="132" y="930"/>
                </a:lnTo>
                <a:lnTo>
                  <a:pt x="132" y="924"/>
                </a:lnTo>
                <a:lnTo>
                  <a:pt x="132" y="918"/>
                </a:lnTo>
                <a:lnTo>
                  <a:pt x="138" y="918"/>
                </a:lnTo>
                <a:lnTo>
                  <a:pt x="144" y="912"/>
                </a:lnTo>
                <a:lnTo>
                  <a:pt x="150" y="912"/>
                </a:lnTo>
                <a:lnTo>
                  <a:pt x="150" y="906"/>
                </a:lnTo>
                <a:lnTo>
                  <a:pt x="156" y="900"/>
                </a:lnTo>
                <a:lnTo>
                  <a:pt x="162" y="894"/>
                </a:lnTo>
                <a:lnTo>
                  <a:pt x="168" y="900"/>
                </a:lnTo>
                <a:lnTo>
                  <a:pt x="168" y="894"/>
                </a:lnTo>
                <a:lnTo>
                  <a:pt x="168" y="888"/>
                </a:lnTo>
                <a:lnTo>
                  <a:pt x="168" y="882"/>
                </a:lnTo>
                <a:lnTo>
                  <a:pt x="168" y="876"/>
                </a:lnTo>
                <a:lnTo>
                  <a:pt x="162" y="882"/>
                </a:lnTo>
                <a:lnTo>
                  <a:pt x="156" y="882"/>
                </a:lnTo>
                <a:lnTo>
                  <a:pt x="150" y="882"/>
                </a:lnTo>
                <a:lnTo>
                  <a:pt x="150" y="876"/>
                </a:lnTo>
                <a:lnTo>
                  <a:pt x="150" y="864"/>
                </a:lnTo>
                <a:lnTo>
                  <a:pt x="144" y="864"/>
                </a:lnTo>
                <a:lnTo>
                  <a:pt x="138" y="858"/>
                </a:lnTo>
                <a:lnTo>
                  <a:pt x="132" y="858"/>
                </a:lnTo>
                <a:lnTo>
                  <a:pt x="132" y="852"/>
                </a:lnTo>
                <a:lnTo>
                  <a:pt x="138" y="852"/>
                </a:lnTo>
                <a:lnTo>
                  <a:pt x="132" y="846"/>
                </a:lnTo>
                <a:lnTo>
                  <a:pt x="132" y="840"/>
                </a:lnTo>
                <a:lnTo>
                  <a:pt x="132" y="834"/>
                </a:lnTo>
                <a:lnTo>
                  <a:pt x="132" y="828"/>
                </a:lnTo>
                <a:lnTo>
                  <a:pt x="132" y="822"/>
                </a:lnTo>
                <a:lnTo>
                  <a:pt x="138" y="822"/>
                </a:lnTo>
                <a:lnTo>
                  <a:pt x="138" y="816"/>
                </a:lnTo>
                <a:lnTo>
                  <a:pt x="144" y="816"/>
                </a:lnTo>
                <a:lnTo>
                  <a:pt x="150" y="816"/>
                </a:lnTo>
                <a:lnTo>
                  <a:pt x="156" y="816"/>
                </a:lnTo>
                <a:lnTo>
                  <a:pt x="162" y="816"/>
                </a:lnTo>
                <a:lnTo>
                  <a:pt x="168" y="816"/>
                </a:lnTo>
                <a:lnTo>
                  <a:pt x="174" y="810"/>
                </a:lnTo>
                <a:lnTo>
                  <a:pt x="174" y="804"/>
                </a:lnTo>
                <a:lnTo>
                  <a:pt x="174" y="798"/>
                </a:lnTo>
                <a:lnTo>
                  <a:pt x="168" y="798"/>
                </a:lnTo>
                <a:lnTo>
                  <a:pt x="162" y="798"/>
                </a:lnTo>
                <a:lnTo>
                  <a:pt x="162" y="792"/>
                </a:lnTo>
                <a:lnTo>
                  <a:pt x="156" y="786"/>
                </a:lnTo>
                <a:lnTo>
                  <a:pt x="150" y="786"/>
                </a:lnTo>
                <a:lnTo>
                  <a:pt x="144" y="786"/>
                </a:lnTo>
                <a:lnTo>
                  <a:pt x="132" y="780"/>
                </a:lnTo>
                <a:lnTo>
                  <a:pt x="132" y="774"/>
                </a:lnTo>
                <a:lnTo>
                  <a:pt x="126" y="774"/>
                </a:lnTo>
                <a:lnTo>
                  <a:pt x="126" y="768"/>
                </a:lnTo>
                <a:lnTo>
                  <a:pt x="120" y="768"/>
                </a:lnTo>
                <a:lnTo>
                  <a:pt x="114" y="768"/>
                </a:lnTo>
                <a:lnTo>
                  <a:pt x="114" y="762"/>
                </a:lnTo>
                <a:lnTo>
                  <a:pt x="120" y="762"/>
                </a:lnTo>
                <a:lnTo>
                  <a:pt x="126" y="762"/>
                </a:lnTo>
                <a:lnTo>
                  <a:pt x="126" y="756"/>
                </a:lnTo>
                <a:lnTo>
                  <a:pt x="126" y="750"/>
                </a:lnTo>
                <a:lnTo>
                  <a:pt x="120" y="744"/>
                </a:lnTo>
                <a:lnTo>
                  <a:pt x="114" y="744"/>
                </a:lnTo>
                <a:lnTo>
                  <a:pt x="108" y="738"/>
                </a:lnTo>
                <a:lnTo>
                  <a:pt x="108" y="732"/>
                </a:lnTo>
                <a:lnTo>
                  <a:pt x="102" y="726"/>
                </a:lnTo>
                <a:lnTo>
                  <a:pt x="102" y="732"/>
                </a:lnTo>
                <a:lnTo>
                  <a:pt x="96" y="732"/>
                </a:lnTo>
                <a:lnTo>
                  <a:pt x="96" y="726"/>
                </a:lnTo>
                <a:lnTo>
                  <a:pt x="96" y="732"/>
                </a:lnTo>
                <a:lnTo>
                  <a:pt x="90" y="732"/>
                </a:lnTo>
                <a:lnTo>
                  <a:pt x="90" y="738"/>
                </a:lnTo>
                <a:lnTo>
                  <a:pt x="96" y="738"/>
                </a:lnTo>
                <a:lnTo>
                  <a:pt x="90" y="738"/>
                </a:lnTo>
                <a:lnTo>
                  <a:pt x="96" y="738"/>
                </a:lnTo>
                <a:lnTo>
                  <a:pt x="96" y="744"/>
                </a:lnTo>
                <a:lnTo>
                  <a:pt x="90" y="744"/>
                </a:lnTo>
                <a:lnTo>
                  <a:pt x="84" y="744"/>
                </a:lnTo>
                <a:lnTo>
                  <a:pt x="90" y="744"/>
                </a:lnTo>
                <a:lnTo>
                  <a:pt x="90" y="738"/>
                </a:lnTo>
                <a:lnTo>
                  <a:pt x="90" y="732"/>
                </a:lnTo>
                <a:lnTo>
                  <a:pt x="90" y="726"/>
                </a:lnTo>
                <a:lnTo>
                  <a:pt x="84" y="726"/>
                </a:lnTo>
                <a:lnTo>
                  <a:pt x="84" y="720"/>
                </a:lnTo>
                <a:lnTo>
                  <a:pt x="90" y="720"/>
                </a:lnTo>
                <a:lnTo>
                  <a:pt x="84" y="720"/>
                </a:lnTo>
                <a:lnTo>
                  <a:pt x="84" y="714"/>
                </a:lnTo>
                <a:lnTo>
                  <a:pt x="84" y="708"/>
                </a:lnTo>
                <a:lnTo>
                  <a:pt x="84" y="702"/>
                </a:lnTo>
                <a:lnTo>
                  <a:pt x="84" y="696"/>
                </a:lnTo>
                <a:lnTo>
                  <a:pt x="84" y="690"/>
                </a:lnTo>
                <a:lnTo>
                  <a:pt x="84" y="684"/>
                </a:lnTo>
                <a:lnTo>
                  <a:pt x="90" y="684"/>
                </a:lnTo>
                <a:lnTo>
                  <a:pt x="90" y="678"/>
                </a:lnTo>
                <a:lnTo>
                  <a:pt x="90" y="672"/>
                </a:lnTo>
                <a:lnTo>
                  <a:pt x="84" y="672"/>
                </a:lnTo>
                <a:lnTo>
                  <a:pt x="84" y="666"/>
                </a:lnTo>
                <a:lnTo>
                  <a:pt x="84" y="672"/>
                </a:lnTo>
                <a:lnTo>
                  <a:pt x="78" y="666"/>
                </a:lnTo>
                <a:lnTo>
                  <a:pt x="78" y="660"/>
                </a:lnTo>
                <a:lnTo>
                  <a:pt x="78" y="654"/>
                </a:lnTo>
                <a:lnTo>
                  <a:pt x="78" y="648"/>
                </a:lnTo>
                <a:lnTo>
                  <a:pt x="78" y="642"/>
                </a:lnTo>
                <a:lnTo>
                  <a:pt x="78" y="636"/>
                </a:lnTo>
                <a:lnTo>
                  <a:pt x="72" y="636"/>
                </a:lnTo>
                <a:lnTo>
                  <a:pt x="72" y="630"/>
                </a:lnTo>
                <a:lnTo>
                  <a:pt x="72" y="624"/>
                </a:lnTo>
                <a:lnTo>
                  <a:pt x="66" y="624"/>
                </a:lnTo>
                <a:lnTo>
                  <a:pt x="66" y="618"/>
                </a:lnTo>
                <a:lnTo>
                  <a:pt x="66" y="612"/>
                </a:lnTo>
                <a:lnTo>
                  <a:pt x="60" y="612"/>
                </a:lnTo>
                <a:lnTo>
                  <a:pt x="60" y="606"/>
                </a:lnTo>
                <a:lnTo>
                  <a:pt x="54" y="606"/>
                </a:lnTo>
                <a:lnTo>
                  <a:pt x="54" y="600"/>
                </a:lnTo>
                <a:lnTo>
                  <a:pt x="54" y="594"/>
                </a:lnTo>
                <a:lnTo>
                  <a:pt x="48" y="594"/>
                </a:lnTo>
                <a:lnTo>
                  <a:pt x="42" y="594"/>
                </a:lnTo>
                <a:lnTo>
                  <a:pt x="42" y="588"/>
                </a:lnTo>
                <a:lnTo>
                  <a:pt x="42" y="582"/>
                </a:lnTo>
                <a:lnTo>
                  <a:pt x="48" y="582"/>
                </a:lnTo>
                <a:lnTo>
                  <a:pt x="48" y="576"/>
                </a:lnTo>
                <a:lnTo>
                  <a:pt x="42" y="576"/>
                </a:lnTo>
                <a:lnTo>
                  <a:pt x="42" y="570"/>
                </a:lnTo>
                <a:lnTo>
                  <a:pt x="36" y="570"/>
                </a:lnTo>
                <a:lnTo>
                  <a:pt x="36" y="564"/>
                </a:lnTo>
                <a:lnTo>
                  <a:pt x="36" y="558"/>
                </a:lnTo>
                <a:lnTo>
                  <a:pt x="42" y="558"/>
                </a:lnTo>
                <a:lnTo>
                  <a:pt x="42" y="552"/>
                </a:lnTo>
                <a:lnTo>
                  <a:pt x="42" y="546"/>
                </a:lnTo>
                <a:lnTo>
                  <a:pt x="48" y="546"/>
                </a:lnTo>
                <a:lnTo>
                  <a:pt x="54" y="546"/>
                </a:lnTo>
                <a:lnTo>
                  <a:pt x="54" y="540"/>
                </a:lnTo>
                <a:lnTo>
                  <a:pt x="60" y="540"/>
                </a:lnTo>
                <a:lnTo>
                  <a:pt x="66" y="540"/>
                </a:lnTo>
                <a:lnTo>
                  <a:pt x="66" y="534"/>
                </a:lnTo>
                <a:lnTo>
                  <a:pt x="72" y="534"/>
                </a:lnTo>
                <a:lnTo>
                  <a:pt x="78" y="534"/>
                </a:lnTo>
                <a:lnTo>
                  <a:pt x="84" y="534"/>
                </a:lnTo>
                <a:lnTo>
                  <a:pt x="84" y="528"/>
                </a:lnTo>
                <a:lnTo>
                  <a:pt x="84" y="534"/>
                </a:lnTo>
                <a:lnTo>
                  <a:pt x="84" y="528"/>
                </a:lnTo>
                <a:lnTo>
                  <a:pt x="90" y="528"/>
                </a:lnTo>
                <a:lnTo>
                  <a:pt x="90" y="522"/>
                </a:lnTo>
                <a:lnTo>
                  <a:pt x="96" y="522"/>
                </a:lnTo>
                <a:lnTo>
                  <a:pt x="96" y="516"/>
                </a:lnTo>
                <a:lnTo>
                  <a:pt x="96" y="510"/>
                </a:lnTo>
                <a:lnTo>
                  <a:pt x="96" y="504"/>
                </a:lnTo>
                <a:lnTo>
                  <a:pt x="96" y="498"/>
                </a:lnTo>
                <a:lnTo>
                  <a:pt x="96" y="492"/>
                </a:lnTo>
                <a:lnTo>
                  <a:pt x="90" y="492"/>
                </a:lnTo>
                <a:lnTo>
                  <a:pt x="90" y="486"/>
                </a:lnTo>
                <a:lnTo>
                  <a:pt x="90" y="480"/>
                </a:lnTo>
                <a:lnTo>
                  <a:pt x="84" y="480"/>
                </a:lnTo>
                <a:lnTo>
                  <a:pt x="78" y="480"/>
                </a:lnTo>
                <a:lnTo>
                  <a:pt x="72" y="480"/>
                </a:lnTo>
                <a:lnTo>
                  <a:pt x="72" y="474"/>
                </a:lnTo>
                <a:lnTo>
                  <a:pt x="72" y="468"/>
                </a:lnTo>
                <a:lnTo>
                  <a:pt x="72" y="462"/>
                </a:lnTo>
                <a:lnTo>
                  <a:pt x="72" y="456"/>
                </a:lnTo>
                <a:lnTo>
                  <a:pt x="72" y="450"/>
                </a:lnTo>
                <a:lnTo>
                  <a:pt x="72" y="444"/>
                </a:lnTo>
                <a:lnTo>
                  <a:pt x="66" y="444"/>
                </a:lnTo>
                <a:lnTo>
                  <a:pt x="66" y="438"/>
                </a:lnTo>
                <a:lnTo>
                  <a:pt x="72" y="438"/>
                </a:lnTo>
                <a:lnTo>
                  <a:pt x="78" y="438"/>
                </a:lnTo>
                <a:lnTo>
                  <a:pt x="78" y="432"/>
                </a:lnTo>
                <a:lnTo>
                  <a:pt x="84" y="432"/>
                </a:lnTo>
                <a:lnTo>
                  <a:pt x="84" y="426"/>
                </a:lnTo>
                <a:lnTo>
                  <a:pt x="90" y="426"/>
                </a:lnTo>
                <a:lnTo>
                  <a:pt x="84" y="426"/>
                </a:lnTo>
                <a:lnTo>
                  <a:pt x="84" y="420"/>
                </a:lnTo>
                <a:lnTo>
                  <a:pt x="84" y="414"/>
                </a:lnTo>
                <a:lnTo>
                  <a:pt x="78" y="414"/>
                </a:lnTo>
                <a:lnTo>
                  <a:pt x="78" y="408"/>
                </a:lnTo>
                <a:lnTo>
                  <a:pt x="72" y="408"/>
                </a:lnTo>
                <a:lnTo>
                  <a:pt x="72" y="402"/>
                </a:lnTo>
                <a:lnTo>
                  <a:pt x="66" y="402"/>
                </a:lnTo>
                <a:lnTo>
                  <a:pt x="66" y="396"/>
                </a:lnTo>
                <a:lnTo>
                  <a:pt x="66" y="390"/>
                </a:lnTo>
                <a:lnTo>
                  <a:pt x="72" y="390"/>
                </a:lnTo>
                <a:lnTo>
                  <a:pt x="72" y="384"/>
                </a:lnTo>
                <a:lnTo>
                  <a:pt x="72" y="378"/>
                </a:lnTo>
                <a:lnTo>
                  <a:pt x="66" y="372"/>
                </a:lnTo>
                <a:lnTo>
                  <a:pt x="66" y="366"/>
                </a:lnTo>
                <a:lnTo>
                  <a:pt x="66" y="360"/>
                </a:lnTo>
                <a:lnTo>
                  <a:pt x="66" y="354"/>
                </a:lnTo>
                <a:lnTo>
                  <a:pt x="60" y="354"/>
                </a:lnTo>
                <a:lnTo>
                  <a:pt x="60" y="348"/>
                </a:lnTo>
                <a:lnTo>
                  <a:pt x="54" y="348"/>
                </a:lnTo>
                <a:lnTo>
                  <a:pt x="48" y="348"/>
                </a:lnTo>
                <a:lnTo>
                  <a:pt x="48" y="342"/>
                </a:lnTo>
                <a:lnTo>
                  <a:pt x="48" y="348"/>
                </a:lnTo>
                <a:lnTo>
                  <a:pt x="42" y="348"/>
                </a:lnTo>
                <a:lnTo>
                  <a:pt x="36" y="348"/>
                </a:lnTo>
                <a:lnTo>
                  <a:pt x="30" y="348"/>
                </a:lnTo>
                <a:lnTo>
                  <a:pt x="30" y="342"/>
                </a:lnTo>
                <a:lnTo>
                  <a:pt x="30" y="336"/>
                </a:lnTo>
                <a:lnTo>
                  <a:pt x="24" y="336"/>
                </a:lnTo>
                <a:lnTo>
                  <a:pt x="24" y="330"/>
                </a:lnTo>
                <a:lnTo>
                  <a:pt x="24" y="324"/>
                </a:lnTo>
                <a:lnTo>
                  <a:pt x="18" y="324"/>
                </a:lnTo>
                <a:lnTo>
                  <a:pt x="18" y="318"/>
                </a:lnTo>
                <a:lnTo>
                  <a:pt x="24" y="318"/>
                </a:lnTo>
                <a:lnTo>
                  <a:pt x="24" y="312"/>
                </a:lnTo>
                <a:lnTo>
                  <a:pt x="18" y="312"/>
                </a:lnTo>
                <a:lnTo>
                  <a:pt x="18" y="306"/>
                </a:lnTo>
                <a:lnTo>
                  <a:pt x="12" y="306"/>
                </a:lnTo>
                <a:lnTo>
                  <a:pt x="12" y="300"/>
                </a:lnTo>
                <a:lnTo>
                  <a:pt x="6" y="300"/>
                </a:lnTo>
                <a:lnTo>
                  <a:pt x="6" y="294"/>
                </a:lnTo>
                <a:lnTo>
                  <a:pt x="0" y="288"/>
                </a:lnTo>
                <a:lnTo>
                  <a:pt x="6" y="288"/>
                </a:lnTo>
                <a:lnTo>
                  <a:pt x="12" y="288"/>
                </a:lnTo>
                <a:lnTo>
                  <a:pt x="18" y="288"/>
                </a:lnTo>
                <a:lnTo>
                  <a:pt x="24" y="288"/>
                </a:lnTo>
                <a:lnTo>
                  <a:pt x="30" y="288"/>
                </a:lnTo>
                <a:lnTo>
                  <a:pt x="30" y="282"/>
                </a:lnTo>
                <a:lnTo>
                  <a:pt x="36" y="282"/>
                </a:lnTo>
                <a:lnTo>
                  <a:pt x="42" y="282"/>
                </a:lnTo>
                <a:lnTo>
                  <a:pt x="42" y="276"/>
                </a:lnTo>
                <a:lnTo>
                  <a:pt x="48" y="276"/>
                </a:lnTo>
                <a:lnTo>
                  <a:pt x="54" y="276"/>
                </a:lnTo>
                <a:lnTo>
                  <a:pt x="54" y="270"/>
                </a:lnTo>
                <a:lnTo>
                  <a:pt x="60" y="270"/>
                </a:lnTo>
                <a:lnTo>
                  <a:pt x="66" y="270"/>
                </a:lnTo>
                <a:lnTo>
                  <a:pt x="72" y="264"/>
                </a:lnTo>
                <a:lnTo>
                  <a:pt x="78" y="264"/>
                </a:lnTo>
                <a:lnTo>
                  <a:pt x="84" y="264"/>
                </a:lnTo>
                <a:lnTo>
                  <a:pt x="90" y="264"/>
                </a:lnTo>
                <a:lnTo>
                  <a:pt x="90" y="258"/>
                </a:lnTo>
                <a:lnTo>
                  <a:pt x="96" y="258"/>
                </a:lnTo>
                <a:lnTo>
                  <a:pt x="102" y="252"/>
                </a:lnTo>
                <a:lnTo>
                  <a:pt x="108" y="246"/>
                </a:lnTo>
                <a:lnTo>
                  <a:pt x="114" y="246"/>
                </a:lnTo>
                <a:lnTo>
                  <a:pt x="114" y="240"/>
                </a:lnTo>
                <a:lnTo>
                  <a:pt x="120" y="240"/>
                </a:lnTo>
                <a:lnTo>
                  <a:pt x="120" y="234"/>
                </a:lnTo>
                <a:lnTo>
                  <a:pt x="126" y="234"/>
                </a:lnTo>
                <a:lnTo>
                  <a:pt x="126" y="228"/>
                </a:lnTo>
                <a:lnTo>
                  <a:pt x="132" y="222"/>
                </a:lnTo>
                <a:lnTo>
                  <a:pt x="138" y="216"/>
                </a:lnTo>
                <a:lnTo>
                  <a:pt x="138" y="210"/>
                </a:lnTo>
                <a:lnTo>
                  <a:pt x="144" y="210"/>
                </a:lnTo>
                <a:lnTo>
                  <a:pt x="144" y="204"/>
                </a:lnTo>
                <a:lnTo>
                  <a:pt x="150" y="198"/>
                </a:lnTo>
                <a:lnTo>
                  <a:pt x="150" y="192"/>
                </a:lnTo>
                <a:lnTo>
                  <a:pt x="156" y="192"/>
                </a:lnTo>
                <a:lnTo>
                  <a:pt x="162" y="186"/>
                </a:lnTo>
                <a:lnTo>
                  <a:pt x="168" y="186"/>
                </a:lnTo>
                <a:lnTo>
                  <a:pt x="168" y="180"/>
                </a:lnTo>
                <a:lnTo>
                  <a:pt x="174" y="180"/>
                </a:lnTo>
                <a:lnTo>
                  <a:pt x="180" y="180"/>
                </a:lnTo>
                <a:lnTo>
                  <a:pt x="180" y="174"/>
                </a:lnTo>
                <a:lnTo>
                  <a:pt x="186" y="174"/>
                </a:lnTo>
                <a:lnTo>
                  <a:pt x="192" y="168"/>
                </a:lnTo>
                <a:lnTo>
                  <a:pt x="198" y="168"/>
                </a:lnTo>
                <a:lnTo>
                  <a:pt x="198" y="162"/>
                </a:lnTo>
                <a:lnTo>
                  <a:pt x="204" y="162"/>
                </a:lnTo>
                <a:lnTo>
                  <a:pt x="210" y="156"/>
                </a:lnTo>
                <a:lnTo>
                  <a:pt x="216" y="156"/>
                </a:lnTo>
                <a:lnTo>
                  <a:pt x="216" y="150"/>
                </a:lnTo>
                <a:lnTo>
                  <a:pt x="222" y="150"/>
                </a:lnTo>
                <a:lnTo>
                  <a:pt x="222" y="144"/>
                </a:lnTo>
                <a:lnTo>
                  <a:pt x="228" y="144"/>
                </a:lnTo>
                <a:lnTo>
                  <a:pt x="228" y="138"/>
                </a:lnTo>
                <a:lnTo>
                  <a:pt x="234" y="138"/>
                </a:lnTo>
                <a:lnTo>
                  <a:pt x="240" y="138"/>
                </a:lnTo>
                <a:lnTo>
                  <a:pt x="240" y="132"/>
                </a:lnTo>
                <a:lnTo>
                  <a:pt x="246" y="132"/>
                </a:lnTo>
                <a:lnTo>
                  <a:pt x="252" y="132"/>
                </a:lnTo>
                <a:lnTo>
                  <a:pt x="258" y="132"/>
                </a:lnTo>
                <a:lnTo>
                  <a:pt x="258" y="126"/>
                </a:lnTo>
                <a:lnTo>
                  <a:pt x="264" y="126"/>
                </a:lnTo>
                <a:lnTo>
                  <a:pt x="270" y="126"/>
                </a:lnTo>
                <a:lnTo>
                  <a:pt x="276" y="126"/>
                </a:lnTo>
                <a:lnTo>
                  <a:pt x="276" y="120"/>
                </a:lnTo>
                <a:lnTo>
                  <a:pt x="282" y="120"/>
                </a:lnTo>
                <a:lnTo>
                  <a:pt x="288" y="120"/>
                </a:lnTo>
                <a:lnTo>
                  <a:pt x="288" y="114"/>
                </a:lnTo>
                <a:lnTo>
                  <a:pt x="294" y="114"/>
                </a:lnTo>
                <a:lnTo>
                  <a:pt x="300" y="114"/>
                </a:lnTo>
                <a:lnTo>
                  <a:pt x="306" y="114"/>
                </a:lnTo>
                <a:lnTo>
                  <a:pt x="312" y="114"/>
                </a:lnTo>
                <a:lnTo>
                  <a:pt x="318" y="114"/>
                </a:lnTo>
                <a:lnTo>
                  <a:pt x="318" y="108"/>
                </a:lnTo>
                <a:lnTo>
                  <a:pt x="324" y="108"/>
                </a:lnTo>
                <a:lnTo>
                  <a:pt x="330" y="108"/>
                </a:lnTo>
                <a:lnTo>
                  <a:pt x="336" y="108"/>
                </a:lnTo>
                <a:lnTo>
                  <a:pt x="342" y="102"/>
                </a:lnTo>
                <a:lnTo>
                  <a:pt x="348" y="102"/>
                </a:lnTo>
                <a:lnTo>
                  <a:pt x="354" y="102"/>
                </a:lnTo>
                <a:lnTo>
                  <a:pt x="354" y="96"/>
                </a:lnTo>
                <a:lnTo>
                  <a:pt x="360" y="96"/>
                </a:lnTo>
                <a:lnTo>
                  <a:pt x="366" y="96"/>
                </a:lnTo>
                <a:lnTo>
                  <a:pt x="372" y="96"/>
                </a:lnTo>
                <a:lnTo>
                  <a:pt x="378" y="96"/>
                </a:lnTo>
                <a:lnTo>
                  <a:pt x="378" y="90"/>
                </a:lnTo>
                <a:lnTo>
                  <a:pt x="384" y="90"/>
                </a:lnTo>
                <a:lnTo>
                  <a:pt x="390" y="90"/>
                </a:lnTo>
                <a:lnTo>
                  <a:pt x="396" y="90"/>
                </a:lnTo>
                <a:lnTo>
                  <a:pt x="396" y="84"/>
                </a:lnTo>
                <a:lnTo>
                  <a:pt x="402" y="84"/>
                </a:lnTo>
                <a:lnTo>
                  <a:pt x="408" y="84"/>
                </a:lnTo>
                <a:lnTo>
                  <a:pt x="408" y="78"/>
                </a:lnTo>
                <a:lnTo>
                  <a:pt x="414" y="78"/>
                </a:lnTo>
                <a:lnTo>
                  <a:pt x="420" y="78"/>
                </a:lnTo>
                <a:lnTo>
                  <a:pt x="426" y="78"/>
                </a:lnTo>
                <a:lnTo>
                  <a:pt x="426" y="72"/>
                </a:lnTo>
                <a:lnTo>
                  <a:pt x="432" y="72"/>
                </a:lnTo>
                <a:lnTo>
                  <a:pt x="438" y="72"/>
                </a:lnTo>
                <a:lnTo>
                  <a:pt x="438" y="66"/>
                </a:lnTo>
                <a:lnTo>
                  <a:pt x="444" y="66"/>
                </a:lnTo>
                <a:lnTo>
                  <a:pt x="450" y="66"/>
                </a:lnTo>
                <a:lnTo>
                  <a:pt x="450" y="60"/>
                </a:lnTo>
                <a:lnTo>
                  <a:pt x="456" y="60"/>
                </a:lnTo>
                <a:lnTo>
                  <a:pt x="462" y="60"/>
                </a:lnTo>
                <a:lnTo>
                  <a:pt x="468" y="60"/>
                </a:lnTo>
                <a:lnTo>
                  <a:pt x="468" y="54"/>
                </a:lnTo>
                <a:lnTo>
                  <a:pt x="474" y="54"/>
                </a:lnTo>
                <a:lnTo>
                  <a:pt x="480" y="54"/>
                </a:lnTo>
                <a:lnTo>
                  <a:pt x="486" y="48"/>
                </a:lnTo>
                <a:lnTo>
                  <a:pt x="492" y="48"/>
                </a:lnTo>
                <a:lnTo>
                  <a:pt x="498" y="48"/>
                </a:lnTo>
                <a:lnTo>
                  <a:pt x="498" y="42"/>
                </a:lnTo>
                <a:lnTo>
                  <a:pt x="504" y="42"/>
                </a:lnTo>
                <a:lnTo>
                  <a:pt x="510" y="42"/>
                </a:lnTo>
                <a:lnTo>
                  <a:pt x="510" y="36"/>
                </a:lnTo>
                <a:lnTo>
                  <a:pt x="516" y="36"/>
                </a:lnTo>
                <a:lnTo>
                  <a:pt x="522" y="36"/>
                </a:lnTo>
                <a:lnTo>
                  <a:pt x="522" y="30"/>
                </a:lnTo>
                <a:lnTo>
                  <a:pt x="528" y="30"/>
                </a:lnTo>
                <a:lnTo>
                  <a:pt x="534" y="30"/>
                </a:lnTo>
                <a:lnTo>
                  <a:pt x="540" y="30"/>
                </a:lnTo>
                <a:lnTo>
                  <a:pt x="546" y="24"/>
                </a:lnTo>
                <a:lnTo>
                  <a:pt x="552" y="24"/>
                </a:lnTo>
                <a:lnTo>
                  <a:pt x="558" y="24"/>
                </a:lnTo>
                <a:lnTo>
                  <a:pt x="564" y="24"/>
                </a:lnTo>
                <a:lnTo>
                  <a:pt x="570" y="24"/>
                </a:lnTo>
                <a:lnTo>
                  <a:pt x="576" y="24"/>
                </a:lnTo>
                <a:lnTo>
                  <a:pt x="582" y="18"/>
                </a:lnTo>
                <a:lnTo>
                  <a:pt x="588" y="18"/>
                </a:lnTo>
                <a:lnTo>
                  <a:pt x="594" y="18"/>
                </a:lnTo>
                <a:lnTo>
                  <a:pt x="600" y="18"/>
                </a:lnTo>
                <a:lnTo>
                  <a:pt x="606" y="18"/>
                </a:lnTo>
                <a:lnTo>
                  <a:pt x="612" y="18"/>
                </a:lnTo>
                <a:lnTo>
                  <a:pt x="618" y="18"/>
                </a:lnTo>
                <a:lnTo>
                  <a:pt x="624" y="12"/>
                </a:lnTo>
                <a:lnTo>
                  <a:pt x="630" y="12"/>
                </a:lnTo>
                <a:lnTo>
                  <a:pt x="636" y="12"/>
                </a:lnTo>
                <a:lnTo>
                  <a:pt x="642" y="12"/>
                </a:lnTo>
                <a:lnTo>
                  <a:pt x="648" y="12"/>
                </a:lnTo>
                <a:lnTo>
                  <a:pt x="654" y="12"/>
                </a:lnTo>
                <a:lnTo>
                  <a:pt x="660" y="12"/>
                </a:lnTo>
                <a:lnTo>
                  <a:pt x="666" y="12"/>
                </a:lnTo>
                <a:lnTo>
                  <a:pt x="672" y="6"/>
                </a:lnTo>
                <a:lnTo>
                  <a:pt x="684" y="6"/>
                </a:lnTo>
                <a:lnTo>
                  <a:pt x="690" y="6"/>
                </a:lnTo>
                <a:lnTo>
                  <a:pt x="696" y="6"/>
                </a:lnTo>
                <a:lnTo>
                  <a:pt x="702" y="6"/>
                </a:lnTo>
                <a:lnTo>
                  <a:pt x="708" y="0"/>
                </a:lnTo>
                <a:lnTo>
                  <a:pt x="714" y="6"/>
                </a:lnTo>
                <a:lnTo>
                  <a:pt x="720" y="6"/>
                </a:lnTo>
                <a:lnTo>
                  <a:pt x="726" y="6"/>
                </a:lnTo>
                <a:lnTo>
                  <a:pt x="726" y="12"/>
                </a:lnTo>
                <a:lnTo>
                  <a:pt x="732" y="12"/>
                </a:lnTo>
                <a:lnTo>
                  <a:pt x="732" y="18"/>
                </a:lnTo>
                <a:lnTo>
                  <a:pt x="738" y="18"/>
                </a:lnTo>
                <a:lnTo>
                  <a:pt x="744" y="24"/>
                </a:lnTo>
                <a:lnTo>
                  <a:pt x="750" y="24"/>
                </a:lnTo>
                <a:lnTo>
                  <a:pt x="756" y="24"/>
                </a:lnTo>
                <a:lnTo>
                  <a:pt x="762" y="30"/>
                </a:lnTo>
                <a:lnTo>
                  <a:pt x="756" y="30"/>
                </a:lnTo>
                <a:lnTo>
                  <a:pt x="762" y="30"/>
                </a:lnTo>
                <a:lnTo>
                  <a:pt x="768" y="36"/>
                </a:lnTo>
                <a:lnTo>
                  <a:pt x="774" y="36"/>
                </a:lnTo>
                <a:lnTo>
                  <a:pt x="780" y="42"/>
                </a:lnTo>
                <a:lnTo>
                  <a:pt x="786" y="42"/>
                </a:lnTo>
                <a:lnTo>
                  <a:pt x="792" y="48"/>
                </a:lnTo>
                <a:lnTo>
                  <a:pt x="798" y="48"/>
                </a:lnTo>
                <a:lnTo>
                  <a:pt x="804" y="48"/>
                </a:lnTo>
                <a:lnTo>
                  <a:pt x="810" y="54"/>
                </a:lnTo>
                <a:lnTo>
                  <a:pt x="816" y="54"/>
                </a:lnTo>
                <a:lnTo>
                  <a:pt x="822" y="60"/>
                </a:lnTo>
                <a:lnTo>
                  <a:pt x="828" y="60"/>
                </a:lnTo>
                <a:lnTo>
                  <a:pt x="834" y="66"/>
                </a:lnTo>
                <a:lnTo>
                  <a:pt x="840" y="66"/>
                </a:lnTo>
                <a:lnTo>
                  <a:pt x="846" y="66"/>
                </a:lnTo>
                <a:lnTo>
                  <a:pt x="846" y="72"/>
                </a:lnTo>
                <a:lnTo>
                  <a:pt x="852" y="72"/>
                </a:lnTo>
                <a:lnTo>
                  <a:pt x="858" y="72"/>
                </a:lnTo>
                <a:lnTo>
                  <a:pt x="858" y="78"/>
                </a:lnTo>
                <a:lnTo>
                  <a:pt x="864" y="78"/>
                </a:lnTo>
                <a:lnTo>
                  <a:pt x="870" y="78"/>
                </a:lnTo>
                <a:lnTo>
                  <a:pt x="876" y="78"/>
                </a:lnTo>
                <a:lnTo>
                  <a:pt x="876" y="84"/>
                </a:lnTo>
                <a:lnTo>
                  <a:pt x="882" y="84"/>
                </a:lnTo>
                <a:lnTo>
                  <a:pt x="888" y="84"/>
                </a:lnTo>
                <a:lnTo>
                  <a:pt x="888" y="90"/>
                </a:lnTo>
                <a:lnTo>
                  <a:pt x="894" y="90"/>
                </a:lnTo>
                <a:lnTo>
                  <a:pt x="900" y="96"/>
                </a:lnTo>
                <a:lnTo>
                  <a:pt x="906" y="96"/>
                </a:lnTo>
                <a:lnTo>
                  <a:pt x="912" y="102"/>
                </a:lnTo>
                <a:lnTo>
                  <a:pt x="918" y="102"/>
                </a:lnTo>
                <a:lnTo>
                  <a:pt x="918" y="108"/>
                </a:lnTo>
                <a:lnTo>
                  <a:pt x="924" y="108"/>
                </a:lnTo>
                <a:lnTo>
                  <a:pt x="924" y="114"/>
                </a:lnTo>
                <a:lnTo>
                  <a:pt x="930" y="114"/>
                </a:lnTo>
                <a:lnTo>
                  <a:pt x="936" y="120"/>
                </a:lnTo>
                <a:lnTo>
                  <a:pt x="942" y="126"/>
                </a:lnTo>
                <a:lnTo>
                  <a:pt x="948" y="126"/>
                </a:lnTo>
                <a:lnTo>
                  <a:pt x="948" y="132"/>
                </a:lnTo>
                <a:lnTo>
                  <a:pt x="954" y="138"/>
                </a:lnTo>
                <a:lnTo>
                  <a:pt x="960" y="138"/>
                </a:lnTo>
                <a:lnTo>
                  <a:pt x="960" y="144"/>
                </a:lnTo>
                <a:lnTo>
                  <a:pt x="960" y="150"/>
                </a:lnTo>
                <a:lnTo>
                  <a:pt x="960" y="156"/>
                </a:lnTo>
                <a:lnTo>
                  <a:pt x="960" y="162"/>
                </a:lnTo>
                <a:lnTo>
                  <a:pt x="954" y="168"/>
                </a:lnTo>
                <a:lnTo>
                  <a:pt x="954" y="162"/>
                </a:lnTo>
                <a:lnTo>
                  <a:pt x="948" y="162"/>
                </a:lnTo>
                <a:lnTo>
                  <a:pt x="948" y="156"/>
                </a:lnTo>
                <a:lnTo>
                  <a:pt x="948" y="150"/>
                </a:lnTo>
                <a:lnTo>
                  <a:pt x="942" y="150"/>
                </a:lnTo>
                <a:lnTo>
                  <a:pt x="936" y="150"/>
                </a:lnTo>
                <a:lnTo>
                  <a:pt x="936" y="144"/>
                </a:lnTo>
                <a:lnTo>
                  <a:pt x="936" y="138"/>
                </a:lnTo>
                <a:lnTo>
                  <a:pt x="930" y="138"/>
                </a:lnTo>
                <a:lnTo>
                  <a:pt x="930" y="132"/>
                </a:lnTo>
                <a:lnTo>
                  <a:pt x="924" y="132"/>
                </a:lnTo>
                <a:lnTo>
                  <a:pt x="924" y="126"/>
                </a:lnTo>
                <a:lnTo>
                  <a:pt x="918" y="126"/>
                </a:lnTo>
                <a:lnTo>
                  <a:pt x="918" y="120"/>
                </a:lnTo>
                <a:lnTo>
                  <a:pt x="912" y="114"/>
                </a:lnTo>
                <a:lnTo>
                  <a:pt x="912" y="108"/>
                </a:lnTo>
                <a:lnTo>
                  <a:pt x="906" y="108"/>
                </a:lnTo>
                <a:lnTo>
                  <a:pt x="900" y="102"/>
                </a:lnTo>
                <a:lnTo>
                  <a:pt x="900" y="96"/>
                </a:lnTo>
                <a:lnTo>
                  <a:pt x="894" y="96"/>
                </a:lnTo>
                <a:lnTo>
                  <a:pt x="888" y="96"/>
                </a:lnTo>
                <a:lnTo>
                  <a:pt x="882" y="96"/>
                </a:lnTo>
                <a:lnTo>
                  <a:pt x="882" y="90"/>
                </a:lnTo>
                <a:lnTo>
                  <a:pt x="876" y="90"/>
                </a:lnTo>
                <a:lnTo>
                  <a:pt x="870" y="90"/>
                </a:lnTo>
                <a:lnTo>
                  <a:pt x="870" y="84"/>
                </a:lnTo>
                <a:lnTo>
                  <a:pt x="864" y="84"/>
                </a:lnTo>
                <a:lnTo>
                  <a:pt x="864" y="78"/>
                </a:lnTo>
                <a:lnTo>
                  <a:pt x="858" y="78"/>
                </a:lnTo>
                <a:lnTo>
                  <a:pt x="852" y="78"/>
                </a:lnTo>
                <a:lnTo>
                  <a:pt x="852" y="72"/>
                </a:lnTo>
                <a:lnTo>
                  <a:pt x="846" y="72"/>
                </a:lnTo>
                <a:lnTo>
                  <a:pt x="840" y="72"/>
                </a:lnTo>
                <a:lnTo>
                  <a:pt x="834" y="66"/>
                </a:lnTo>
                <a:lnTo>
                  <a:pt x="828" y="66"/>
                </a:lnTo>
                <a:lnTo>
                  <a:pt x="822" y="66"/>
                </a:lnTo>
                <a:lnTo>
                  <a:pt x="822" y="60"/>
                </a:lnTo>
                <a:lnTo>
                  <a:pt x="816" y="60"/>
                </a:lnTo>
                <a:lnTo>
                  <a:pt x="810" y="60"/>
                </a:lnTo>
                <a:lnTo>
                  <a:pt x="810" y="54"/>
                </a:lnTo>
                <a:lnTo>
                  <a:pt x="804" y="54"/>
                </a:lnTo>
                <a:lnTo>
                  <a:pt x="798" y="54"/>
                </a:lnTo>
                <a:lnTo>
                  <a:pt x="792" y="48"/>
                </a:lnTo>
                <a:lnTo>
                  <a:pt x="786" y="48"/>
                </a:lnTo>
                <a:lnTo>
                  <a:pt x="780" y="48"/>
                </a:lnTo>
                <a:lnTo>
                  <a:pt x="780" y="42"/>
                </a:lnTo>
                <a:lnTo>
                  <a:pt x="774" y="42"/>
                </a:lnTo>
                <a:lnTo>
                  <a:pt x="768" y="42"/>
                </a:lnTo>
                <a:lnTo>
                  <a:pt x="768" y="36"/>
                </a:lnTo>
                <a:lnTo>
                  <a:pt x="762" y="36"/>
                </a:lnTo>
                <a:lnTo>
                  <a:pt x="762" y="42"/>
                </a:lnTo>
                <a:lnTo>
                  <a:pt x="762" y="48"/>
                </a:lnTo>
                <a:lnTo>
                  <a:pt x="762" y="54"/>
                </a:lnTo>
                <a:lnTo>
                  <a:pt x="762" y="60"/>
                </a:lnTo>
                <a:lnTo>
                  <a:pt x="756" y="60"/>
                </a:lnTo>
                <a:lnTo>
                  <a:pt x="756" y="66"/>
                </a:lnTo>
                <a:lnTo>
                  <a:pt x="756" y="72"/>
                </a:lnTo>
                <a:lnTo>
                  <a:pt x="756" y="78"/>
                </a:lnTo>
                <a:lnTo>
                  <a:pt x="756" y="84"/>
                </a:lnTo>
                <a:lnTo>
                  <a:pt x="762" y="84"/>
                </a:lnTo>
                <a:lnTo>
                  <a:pt x="768" y="84"/>
                </a:lnTo>
                <a:lnTo>
                  <a:pt x="774" y="90"/>
                </a:lnTo>
                <a:lnTo>
                  <a:pt x="774" y="96"/>
                </a:lnTo>
                <a:lnTo>
                  <a:pt x="780" y="96"/>
                </a:lnTo>
                <a:lnTo>
                  <a:pt x="786" y="96"/>
                </a:lnTo>
                <a:lnTo>
                  <a:pt x="786" y="102"/>
                </a:lnTo>
                <a:lnTo>
                  <a:pt x="792" y="102"/>
                </a:lnTo>
                <a:lnTo>
                  <a:pt x="792" y="108"/>
                </a:lnTo>
                <a:lnTo>
                  <a:pt x="792" y="114"/>
                </a:lnTo>
                <a:lnTo>
                  <a:pt x="792" y="120"/>
                </a:lnTo>
                <a:lnTo>
                  <a:pt x="792" y="126"/>
                </a:lnTo>
                <a:lnTo>
                  <a:pt x="792" y="132"/>
                </a:lnTo>
                <a:lnTo>
                  <a:pt x="792" y="138"/>
                </a:lnTo>
                <a:lnTo>
                  <a:pt x="798" y="138"/>
                </a:lnTo>
                <a:lnTo>
                  <a:pt x="798" y="144"/>
                </a:lnTo>
                <a:lnTo>
                  <a:pt x="798" y="150"/>
                </a:lnTo>
                <a:lnTo>
                  <a:pt x="798" y="156"/>
                </a:lnTo>
                <a:lnTo>
                  <a:pt x="804" y="156"/>
                </a:lnTo>
                <a:lnTo>
                  <a:pt x="810" y="150"/>
                </a:lnTo>
                <a:lnTo>
                  <a:pt x="816" y="150"/>
                </a:lnTo>
                <a:lnTo>
                  <a:pt x="816" y="144"/>
                </a:lnTo>
                <a:lnTo>
                  <a:pt x="816" y="150"/>
                </a:lnTo>
                <a:lnTo>
                  <a:pt x="816" y="156"/>
                </a:lnTo>
                <a:lnTo>
                  <a:pt x="816" y="162"/>
                </a:lnTo>
                <a:lnTo>
                  <a:pt x="816" y="168"/>
                </a:lnTo>
                <a:lnTo>
                  <a:pt x="822" y="168"/>
                </a:lnTo>
                <a:lnTo>
                  <a:pt x="822" y="174"/>
                </a:lnTo>
                <a:lnTo>
                  <a:pt x="828" y="180"/>
                </a:lnTo>
                <a:lnTo>
                  <a:pt x="828" y="186"/>
                </a:lnTo>
                <a:lnTo>
                  <a:pt x="834" y="186"/>
                </a:lnTo>
                <a:lnTo>
                  <a:pt x="834" y="192"/>
                </a:lnTo>
                <a:lnTo>
                  <a:pt x="840" y="192"/>
                </a:lnTo>
                <a:lnTo>
                  <a:pt x="840" y="198"/>
                </a:lnTo>
                <a:lnTo>
                  <a:pt x="840" y="204"/>
                </a:lnTo>
                <a:lnTo>
                  <a:pt x="846" y="210"/>
                </a:lnTo>
                <a:lnTo>
                  <a:pt x="846" y="216"/>
                </a:lnTo>
                <a:lnTo>
                  <a:pt x="846" y="222"/>
                </a:lnTo>
                <a:lnTo>
                  <a:pt x="840" y="222"/>
                </a:lnTo>
                <a:lnTo>
                  <a:pt x="834" y="222"/>
                </a:lnTo>
                <a:lnTo>
                  <a:pt x="828" y="222"/>
                </a:lnTo>
                <a:lnTo>
                  <a:pt x="822" y="222"/>
                </a:lnTo>
                <a:lnTo>
                  <a:pt x="828" y="222"/>
                </a:lnTo>
                <a:lnTo>
                  <a:pt x="828" y="228"/>
                </a:lnTo>
                <a:lnTo>
                  <a:pt x="828" y="222"/>
                </a:lnTo>
                <a:lnTo>
                  <a:pt x="828" y="228"/>
                </a:lnTo>
                <a:lnTo>
                  <a:pt x="834" y="228"/>
                </a:lnTo>
                <a:lnTo>
                  <a:pt x="834" y="222"/>
                </a:lnTo>
                <a:lnTo>
                  <a:pt x="834" y="228"/>
                </a:lnTo>
                <a:lnTo>
                  <a:pt x="828" y="228"/>
                </a:lnTo>
                <a:lnTo>
                  <a:pt x="834" y="228"/>
                </a:lnTo>
                <a:lnTo>
                  <a:pt x="840" y="228"/>
                </a:lnTo>
                <a:lnTo>
                  <a:pt x="834" y="234"/>
                </a:lnTo>
                <a:lnTo>
                  <a:pt x="834" y="228"/>
                </a:lnTo>
                <a:lnTo>
                  <a:pt x="840" y="228"/>
                </a:lnTo>
                <a:lnTo>
                  <a:pt x="846" y="228"/>
                </a:lnTo>
                <a:lnTo>
                  <a:pt x="840" y="228"/>
                </a:lnTo>
                <a:lnTo>
                  <a:pt x="846" y="228"/>
                </a:lnTo>
                <a:lnTo>
                  <a:pt x="846" y="234"/>
                </a:lnTo>
                <a:lnTo>
                  <a:pt x="846" y="240"/>
                </a:lnTo>
                <a:lnTo>
                  <a:pt x="846" y="246"/>
                </a:lnTo>
                <a:lnTo>
                  <a:pt x="852" y="252"/>
                </a:lnTo>
                <a:lnTo>
                  <a:pt x="852" y="258"/>
                </a:lnTo>
                <a:lnTo>
                  <a:pt x="858" y="264"/>
                </a:lnTo>
                <a:lnTo>
                  <a:pt x="852" y="264"/>
                </a:lnTo>
                <a:lnTo>
                  <a:pt x="852" y="270"/>
                </a:lnTo>
                <a:lnTo>
                  <a:pt x="852" y="276"/>
                </a:lnTo>
                <a:lnTo>
                  <a:pt x="852" y="282"/>
                </a:lnTo>
                <a:lnTo>
                  <a:pt x="858" y="282"/>
                </a:lnTo>
                <a:lnTo>
                  <a:pt x="858" y="288"/>
                </a:lnTo>
                <a:lnTo>
                  <a:pt x="858" y="294"/>
                </a:lnTo>
                <a:lnTo>
                  <a:pt x="864" y="294"/>
                </a:lnTo>
                <a:lnTo>
                  <a:pt x="864" y="300"/>
                </a:lnTo>
                <a:lnTo>
                  <a:pt x="870" y="300"/>
                </a:lnTo>
                <a:lnTo>
                  <a:pt x="870" y="306"/>
                </a:lnTo>
                <a:lnTo>
                  <a:pt x="876" y="306"/>
                </a:lnTo>
                <a:lnTo>
                  <a:pt x="876" y="312"/>
                </a:lnTo>
                <a:lnTo>
                  <a:pt x="882" y="312"/>
                </a:lnTo>
                <a:lnTo>
                  <a:pt x="888" y="318"/>
                </a:lnTo>
                <a:lnTo>
                  <a:pt x="894" y="318"/>
                </a:lnTo>
                <a:lnTo>
                  <a:pt x="900" y="318"/>
                </a:lnTo>
                <a:lnTo>
                  <a:pt x="906" y="318"/>
                </a:lnTo>
                <a:lnTo>
                  <a:pt x="900" y="318"/>
                </a:lnTo>
                <a:lnTo>
                  <a:pt x="906" y="318"/>
                </a:lnTo>
                <a:lnTo>
                  <a:pt x="912" y="318"/>
                </a:lnTo>
                <a:lnTo>
                  <a:pt x="918" y="318"/>
                </a:lnTo>
                <a:lnTo>
                  <a:pt x="918" y="324"/>
                </a:lnTo>
                <a:lnTo>
                  <a:pt x="924" y="324"/>
                </a:lnTo>
                <a:lnTo>
                  <a:pt x="924" y="318"/>
                </a:lnTo>
                <a:lnTo>
                  <a:pt x="930" y="318"/>
                </a:lnTo>
                <a:lnTo>
                  <a:pt x="930" y="312"/>
                </a:lnTo>
                <a:lnTo>
                  <a:pt x="930" y="318"/>
                </a:lnTo>
                <a:lnTo>
                  <a:pt x="936" y="318"/>
                </a:lnTo>
                <a:lnTo>
                  <a:pt x="930" y="318"/>
                </a:lnTo>
                <a:lnTo>
                  <a:pt x="924" y="318"/>
                </a:lnTo>
                <a:lnTo>
                  <a:pt x="924" y="324"/>
                </a:lnTo>
                <a:lnTo>
                  <a:pt x="924" y="330"/>
                </a:lnTo>
                <a:lnTo>
                  <a:pt x="930" y="330"/>
                </a:lnTo>
                <a:lnTo>
                  <a:pt x="930" y="324"/>
                </a:lnTo>
                <a:lnTo>
                  <a:pt x="930" y="330"/>
                </a:lnTo>
                <a:lnTo>
                  <a:pt x="930" y="336"/>
                </a:lnTo>
                <a:lnTo>
                  <a:pt x="936" y="336"/>
                </a:lnTo>
                <a:lnTo>
                  <a:pt x="936" y="342"/>
                </a:lnTo>
                <a:lnTo>
                  <a:pt x="942" y="342"/>
                </a:lnTo>
                <a:lnTo>
                  <a:pt x="948" y="342"/>
                </a:lnTo>
                <a:lnTo>
                  <a:pt x="954" y="342"/>
                </a:lnTo>
                <a:lnTo>
                  <a:pt x="960" y="342"/>
                </a:lnTo>
                <a:lnTo>
                  <a:pt x="960" y="348"/>
                </a:lnTo>
                <a:lnTo>
                  <a:pt x="966" y="354"/>
                </a:lnTo>
                <a:lnTo>
                  <a:pt x="966" y="360"/>
                </a:lnTo>
                <a:lnTo>
                  <a:pt x="972" y="360"/>
                </a:lnTo>
                <a:lnTo>
                  <a:pt x="972" y="366"/>
                </a:lnTo>
                <a:lnTo>
                  <a:pt x="978" y="366"/>
                </a:lnTo>
                <a:lnTo>
                  <a:pt x="978" y="360"/>
                </a:lnTo>
                <a:lnTo>
                  <a:pt x="972" y="360"/>
                </a:lnTo>
                <a:lnTo>
                  <a:pt x="978" y="360"/>
                </a:lnTo>
                <a:lnTo>
                  <a:pt x="984" y="360"/>
                </a:lnTo>
                <a:lnTo>
                  <a:pt x="990" y="366"/>
                </a:lnTo>
                <a:lnTo>
                  <a:pt x="990" y="360"/>
                </a:lnTo>
                <a:lnTo>
                  <a:pt x="984" y="360"/>
                </a:lnTo>
                <a:lnTo>
                  <a:pt x="978" y="360"/>
                </a:lnTo>
                <a:lnTo>
                  <a:pt x="972" y="360"/>
                </a:lnTo>
                <a:lnTo>
                  <a:pt x="966" y="354"/>
                </a:lnTo>
                <a:lnTo>
                  <a:pt x="966" y="348"/>
                </a:lnTo>
                <a:lnTo>
                  <a:pt x="966" y="342"/>
                </a:lnTo>
                <a:lnTo>
                  <a:pt x="972" y="342"/>
                </a:lnTo>
                <a:lnTo>
                  <a:pt x="972" y="348"/>
                </a:lnTo>
                <a:lnTo>
                  <a:pt x="978" y="348"/>
                </a:lnTo>
                <a:lnTo>
                  <a:pt x="984" y="348"/>
                </a:lnTo>
                <a:lnTo>
                  <a:pt x="990" y="348"/>
                </a:lnTo>
                <a:lnTo>
                  <a:pt x="996" y="348"/>
                </a:lnTo>
                <a:lnTo>
                  <a:pt x="996" y="354"/>
                </a:lnTo>
                <a:lnTo>
                  <a:pt x="1002" y="354"/>
                </a:lnTo>
                <a:lnTo>
                  <a:pt x="1008" y="354"/>
                </a:lnTo>
                <a:lnTo>
                  <a:pt x="1014" y="354"/>
                </a:lnTo>
                <a:lnTo>
                  <a:pt x="1020" y="354"/>
                </a:lnTo>
                <a:lnTo>
                  <a:pt x="1026" y="354"/>
                </a:lnTo>
                <a:lnTo>
                  <a:pt x="1032" y="354"/>
                </a:lnTo>
                <a:lnTo>
                  <a:pt x="1032" y="348"/>
                </a:lnTo>
                <a:lnTo>
                  <a:pt x="1038" y="342"/>
                </a:lnTo>
                <a:lnTo>
                  <a:pt x="1038" y="336"/>
                </a:lnTo>
                <a:lnTo>
                  <a:pt x="1038" y="342"/>
                </a:lnTo>
                <a:lnTo>
                  <a:pt x="1032" y="342"/>
                </a:lnTo>
                <a:lnTo>
                  <a:pt x="1038" y="336"/>
                </a:lnTo>
                <a:lnTo>
                  <a:pt x="1038" y="342"/>
                </a:lnTo>
                <a:lnTo>
                  <a:pt x="1038" y="348"/>
                </a:lnTo>
                <a:lnTo>
                  <a:pt x="1038" y="354"/>
                </a:lnTo>
                <a:lnTo>
                  <a:pt x="1038" y="360"/>
                </a:lnTo>
                <a:lnTo>
                  <a:pt x="1038" y="366"/>
                </a:lnTo>
                <a:lnTo>
                  <a:pt x="1038" y="372"/>
                </a:lnTo>
                <a:lnTo>
                  <a:pt x="1038" y="366"/>
                </a:lnTo>
                <a:lnTo>
                  <a:pt x="1038" y="360"/>
                </a:lnTo>
                <a:lnTo>
                  <a:pt x="1038" y="354"/>
                </a:lnTo>
                <a:lnTo>
                  <a:pt x="1038" y="348"/>
                </a:lnTo>
                <a:lnTo>
                  <a:pt x="1038" y="342"/>
                </a:lnTo>
                <a:lnTo>
                  <a:pt x="1044" y="342"/>
                </a:lnTo>
                <a:lnTo>
                  <a:pt x="1050" y="348"/>
                </a:lnTo>
                <a:lnTo>
                  <a:pt x="1056" y="348"/>
                </a:lnTo>
                <a:lnTo>
                  <a:pt x="1062" y="348"/>
                </a:lnTo>
                <a:lnTo>
                  <a:pt x="1068" y="348"/>
                </a:lnTo>
                <a:lnTo>
                  <a:pt x="1074" y="348"/>
                </a:lnTo>
                <a:lnTo>
                  <a:pt x="1080" y="348"/>
                </a:lnTo>
                <a:lnTo>
                  <a:pt x="1086" y="348"/>
                </a:lnTo>
                <a:lnTo>
                  <a:pt x="1092" y="342"/>
                </a:lnTo>
                <a:lnTo>
                  <a:pt x="1098" y="342"/>
                </a:lnTo>
                <a:lnTo>
                  <a:pt x="1104" y="342"/>
                </a:lnTo>
                <a:lnTo>
                  <a:pt x="1110" y="342"/>
                </a:lnTo>
                <a:lnTo>
                  <a:pt x="1116" y="342"/>
                </a:lnTo>
                <a:lnTo>
                  <a:pt x="1122" y="342"/>
                </a:lnTo>
                <a:lnTo>
                  <a:pt x="1122" y="336"/>
                </a:lnTo>
                <a:lnTo>
                  <a:pt x="1128" y="336"/>
                </a:lnTo>
                <a:lnTo>
                  <a:pt x="1134" y="336"/>
                </a:lnTo>
                <a:lnTo>
                  <a:pt x="1140" y="336"/>
                </a:lnTo>
                <a:lnTo>
                  <a:pt x="1146" y="336"/>
                </a:lnTo>
                <a:lnTo>
                  <a:pt x="1158" y="330"/>
                </a:lnTo>
                <a:lnTo>
                  <a:pt x="1164" y="330"/>
                </a:lnTo>
                <a:lnTo>
                  <a:pt x="1170" y="330"/>
                </a:lnTo>
                <a:lnTo>
                  <a:pt x="1176" y="324"/>
                </a:lnTo>
                <a:lnTo>
                  <a:pt x="1182" y="324"/>
                </a:lnTo>
                <a:lnTo>
                  <a:pt x="1194" y="318"/>
                </a:lnTo>
                <a:lnTo>
                  <a:pt x="1200" y="318"/>
                </a:lnTo>
                <a:lnTo>
                  <a:pt x="1206" y="318"/>
                </a:lnTo>
                <a:lnTo>
                  <a:pt x="1206" y="312"/>
                </a:lnTo>
                <a:lnTo>
                  <a:pt x="1212" y="312"/>
                </a:lnTo>
                <a:lnTo>
                  <a:pt x="1218" y="312"/>
                </a:lnTo>
                <a:lnTo>
                  <a:pt x="1224" y="312"/>
                </a:lnTo>
                <a:lnTo>
                  <a:pt x="1230" y="306"/>
                </a:lnTo>
                <a:lnTo>
                  <a:pt x="1236" y="306"/>
                </a:lnTo>
                <a:lnTo>
                  <a:pt x="1242" y="300"/>
                </a:lnTo>
                <a:lnTo>
                  <a:pt x="1248" y="300"/>
                </a:lnTo>
                <a:lnTo>
                  <a:pt x="1248" y="294"/>
                </a:lnTo>
                <a:lnTo>
                  <a:pt x="1254" y="294"/>
                </a:lnTo>
                <a:lnTo>
                  <a:pt x="1260" y="294"/>
                </a:lnTo>
                <a:lnTo>
                  <a:pt x="1266" y="288"/>
                </a:lnTo>
                <a:lnTo>
                  <a:pt x="1272" y="282"/>
                </a:lnTo>
                <a:lnTo>
                  <a:pt x="1278" y="276"/>
                </a:lnTo>
                <a:lnTo>
                  <a:pt x="1284" y="276"/>
                </a:lnTo>
                <a:lnTo>
                  <a:pt x="1290" y="276"/>
                </a:lnTo>
                <a:lnTo>
                  <a:pt x="1290" y="270"/>
                </a:lnTo>
                <a:lnTo>
                  <a:pt x="1296" y="270"/>
                </a:lnTo>
                <a:lnTo>
                  <a:pt x="1302" y="264"/>
                </a:lnTo>
                <a:lnTo>
                  <a:pt x="1308" y="258"/>
                </a:lnTo>
                <a:lnTo>
                  <a:pt x="1314" y="258"/>
                </a:lnTo>
                <a:lnTo>
                  <a:pt x="1314" y="252"/>
                </a:lnTo>
                <a:lnTo>
                  <a:pt x="1320" y="252"/>
                </a:lnTo>
                <a:lnTo>
                  <a:pt x="1320" y="246"/>
                </a:lnTo>
                <a:lnTo>
                  <a:pt x="1326" y="240"/>
                </a:lnTo>
                <a:lnTo>
                  <a:pt x="1332" y="240"/>
                </a:lnTo>
                <a:lnTo>
                  <a:pt x="1332" y="234"/>
                </a:lnTo>
                <a:lnTo>
                  <a:pt x="1338" y="234"/>
                </a:lnTo>
                <a:lnTo>
                  <a:pt x="1338" y="228"/>
                </a:lnTo>
                <a:lnTo>
                  <a:pt x="1344" y="222"/>
                </a:lnTo>
                <a:lnTo>
                  <a:pt x="1344" y="216"/>
                </a:lnTo>
                <a:lnTo>
                  <a:pt x="1350" y="222"/>
                </a:lnTo>
                <a:lnTo>
                  <a:pt x="1350" y="228"/>
                </a:lnTo>
                <a:lnTo>
                  <a:pt x="1344" y="228"/>
                </a:lnTo>
                <a:lnTo>
                  <a:pt x="1344" y="234"/>
                </a:lnTo>
                <a:lnTo>
                  <a:pt x="1338" y="234"/>
                </a:lnTo>
                <a:lnTo>
                  <a:pt x="1338" y="240"/>
                </a:lnTo>
                <a:lnTo>
                  <a:pt x="1332" y="246"/>
                </a:lnTo>
                <a:lnTo>
                  <a:pt x="1326" y="246"/>
                </a:lnTo>
                <a:lnTo>
                  <a:pt x="1326" y="252"/>
                </a:lnTo>
                <a:lnTo>
                  <a:pt x="1320" y="252"/>
                </a:lnTo>
                <a:lnTo>
                  <a:pt x="1320" y="258"/>
                </a:lnTo>
                <a:lnTo>
                  <a:pt x="1314" y="258"/>
                </a:lnTo>
                <a:lnTo>
                  <a:pt x="1314" y="264"/>
                </a:lnTo>
                <a:lnTo>
                  <a:pt x="1308" y="264"/>
                </a:lnTo>
                <a:lnTo>
                  <a:pt x="1308" y="270"/>
                </a:lnTo>
                <a:lnTo>
                  <a:pt x="1302" y="270"/>
                </a:lnTo>
                <a:lnTo>
                  <a:pt x="1296" y="276"/>
                </a:lnTo>
                <a:lnTo>
                  <a:pt x="1290" y="276"/>
                </a:lnTo>
                <a:lnTo>
                  <a:pt x="1290" y="282"/>
                </a:lnTo>
                <a:lnTo>
                  <a:pt x="1284" y="282"/>
                </a:lnTo>
                <a:lnTo>
                  <a:pt x="1278" y="282"/>
                </a:lnTo>
                <a:lnTo>
                  <a:pt x="1278" y="288"/>
                </a:lnTo>
                <a:lnTo>
                  <a:pt x="1272" y="288"/>
                </a:lnTo>
                <a:lnTo>
                  <a:pt x="1272" y="294"/>
                </a:lnTo>
                <a:lnTo>
                  <a:pt x="1266" y="294"/>
                </a:lnTo>
                <a:lnTo>
                  <a:pt x="1266" y="300"/>
                </a:lnTo>
                <a:lnTo>
                  <a:pt x="1260" y="300"/>
                </a:lnTo>
                <a:lnTo>
                  <a:pt x="1254" y="306"/>
                </a:lnTo>
                <a:lnTo>
                  <a:pt x="1248" y="306"/>
                </a:lnTo>
                <a:lnTo>
                  <a:pt x="1248" y="312"/>
                </a:lnTo>
                <a:lnTo>
                  <a:pt x="1242" y="312"/>
                </a:lnTo>
                <a:lnTo>
                  <a:pt x="1236" y="312"/>
                </a:lnTo>
                <a:lnTo>
                  <a:pt x="1236" y="318"/>
                </a:lnTo>
                <a:lnTo>
                  <a:pt x="1230" y="318"/>
                </a:lnTo>
                <a:lnTo>
                  <a:pt x="1230" y="324"/>
                </a:lnTo>
                <a:lnTo>
                  <a:pt x="1224" y="324"/>
                </a:lnTo>
                <a:lnTo>
                  <a:pt x="1218" y="324"/>
                </a:lnTo>
                <a:lnTo>
                  <a:pt x="1212" y="324"/>
                </a:lnTo>
                <a:lnTo>
                  <a:pt x="1206" y="324"/>
                </a:lnTo>
                <a:lnTo>
                  <a:pt x="1200" y="324"/>
                </a:lnTo>
                <a:lnTo>
                  <a:pt x="1194" y="330"/>
                </a:lnTo>
                <a:lnTo>
                  <a:pt x="1188" y="330"/>
                </a:lnTo>
                <a:lnTo>
                  <a:pt x="1182" y="330"/>
                </a:lnTo>
                <a:lnTo>
                  <a:pt x="1182" y="336"/>
                </a:lnTo>
                <a:lnTo>
                  <a:pt x="1176" y="336"/>
                </a:lnTo>
                <a:lnTo>
                  <a:pt x="1170" y="342"/>
                </a:lnTo>
                <a:lnTo>
                  <a:pt x="1170" y="348"/>
                </a:lnTo>
                <a:lnTo>
                  <a:pt x="1176" y="348"/>
                </a:lnTo>
                <a:lnTo>
                  <a:pt x="1182" y="348"/>
                </a:lnTo>
                <a:lnTo>
                  <a:pt x="1182" y="354"/>
                </a:lnTo>
                <a:lnTo>
                  <a:pt x="1182" y="360"/>
                </a:lnTo>
                <a:lnTo>
                  <a:pt x="1188" y="360"/>
                </a:lnTo>
                <a:lnTo>
                  <a:pt x="1188" y="366"/>
                </a:lnTo>
                <a:lnTo>
                  <a:pt x="1182" y="366"/>
                </a:lnTo>
                <a:lnTo>
                  <a:pt x="1182" y="372"/>
                </a:lnTo>
                <a:lnTo>
                  <a:pt x="1182" y="378"/>
                </a:lnTo>
                <a:lnTo>
                  <a:pt x="1188" y="378"/>
                </a:lnTo>
                <a:lnTo>
                  <a:pt x="1188" y="384"/>
                </a:lnTo>
                <a:lnTo>
                  <a:pt x="1188" y="390"/>
                </a:lnTo>
                <a:lnTo>
                  <a:pt x="1188" y="396"/>
                </a:lnTo>
                <a:lnTo>
                  <a:pt x="1182" y="396"/>
                </a:lnTo>
                <a:lnTo>
                  <a:pt x="1188" y="396"/>
                </a:lnTo>
                <a:lnTo>
                  <a:pt x="1194" y="396"/>
                </a:lnTo>
                <a:lnTo>
                  <a:pt x="1188" y="396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3" name="Freeform 11">
            <a:extLst>
              <a:ext uri="{FF2B5EF4-FFF2-40B4-BE49-F238E27FC236}">
                <a16:creationId xmlns:a16="http://schemas.microsoft.com/office/drawing/2014/main" id="{BD56A32D-15E8-4487-B624-F7D62B0B378D}"/>
              </a:ext>
            </a:extLst>
          </p:cNvPr>
          <p:cNvSpPr>
            <a:spLocks/>
          </p:cNvSpPr>
          <p:nvPr/>
        </p:nvSpPr>
        <p:spPr bwMode="gray">
          <a:xfrm rot="533595">
            <a:off x="6010441" y="2046901"/>
            <a:ext cx="1502218" cy="985394"/>
          </a:xfrm>
          <a:custGeom>
            <a:avLst/>
            <a:gdLst>
              <a:gd name="T0" fmla="*/ 1584 w 1656"/>
              <a:gd name="T1" fmla="*/ 54 h 1164"/>
              <a:gd name="T2" fmla="*/ 1518 w 1656"/>
              <a:gd name="T3" fmla="*/ 96 h 1164"/>
              <a:gd name="T4" fmla="*/ 1476 w 1656"/>
              <a:gd name="T5" fmla="*/ 144 h 1164"/>
              <a:gd name="T6" fmla="*/ 1506 w 1656"/>
              <a:gd name="T7" fmla="*/ 192 h 1164"/>
              <a:gd name="T8" fmla="*/ 1554 w 1656"/>
              <a:gd name="T9" fmla="*/ 228 h 1164"/>
              <a:gd name="T10" fmla="*/ 1590 w 1656"/>
              <a:gd name="T11" fmla="*/ 288 h 1164"/>
              <a:gd name="T12" fmla="*/ 1644 w 1656"/>
              <a:gd name="T13" fmla="*/ 342 h 1164"/>
              <a:gd name="T14" fmla="*/ 1638 w 1656"/>
              <a:gd name="T15" fmla="*/ 438 h 1164"/>
              <a:gd name="T16" fmla="*/ 1602 w 1656"/>
              <a:gd name="T17" fmla="*/ 486 h 1164"/>
              <a:gd name="T18" fmla="*/ 1548 w 1656"/>
              <a:gd name="T19" fmla="*/ 534 h 1164"/>
              <a:gd name="T20" fmla="*/ 1506 w 1656"/>
              <a:gd name="T21" fmla="*/ 564 h 1164"/>
              <a:gd name="T22" fmla="*/ 1452 w 1656"/>
              <a:gd name="T23" fmla="*/ 636 h 1164"/>
              <a:gd name="T24" fmla="*/ 1386 w 1656"/>
              <a:gd name="T25" fmla="*/ 696 h 1164"/>
              <a:gd name="T26" fmla="*/ 1338 w 1656"/>
              <a:gd name="T27" fmla="*/ 720 h 1164"/>
              <a:gd name="T28" fmla="*/ 1284 w 1656"/>
              <a:gd name="T29" fmla="*/ 774 h 1164"/>
              <a:gd name="T30" fmla="*/ 1194 w 1656"/>
              <a:gd name="T31" fmla="*/ 768 h 1164"/>
              <a:gd name="T32" fmla="*/ 1110 w 1656"/>
              <a:gd name="T33" fmla="*/ 798 h 1164"/>
              <a:gd name="T34" fmla="*/ 1068 w 1656"/>
              <a:gd name="T35" fmla="*/ 840 h 1164"/>
              <a:gd name="T36" fmla="*/ 1002 w 1656"/>
              <a:gd name="T37" fmla="*/ 864 h 1164"/>
              <a:gd name="T38" fmla="*/ 930 w 1656"/>
              <a:gd name="T39" fmla="*/ 930 h 1164"/>
              <a:gd name="T40" fmla="*/ 870 w 1656"/>
              <a:gd name="T41" fmla="*/ 942 h 1164"/>
              <a:gd name="T42" fmla="*/ 840 w 1656"/>
              <a:gd name="T43" fmla="*/ 978 h 1164"/>
              <a:gd name="T44" fmla="*/ 780 w 1656"/>
              <a:gd name="T45" fmla="*/ 978 h 1164"/>
              <a:gd name="T46" fmla="*/ 714 w 1656"/>
              <a:gd name="T47" fmla="*/ 1050 h 1164"/>
              <a:gd name="T48" fmla="*/ 636 w 1656"/>
              <a:gd name="T49" fmla="*/ 1092 h 1164"/>
              <a:gd name="T50" fmla="*/ 630 w 1656"/>
              <a:gd name="T51" fmla="*/ 1128 h 1164"/>
              <a:gd name="T52" fmla="*/ 540 w 1656"/>
              <a:gd name="T53" fmla="*/ 1140 h 1164"/>
              <a:gd name="T54" fmla="*/ 480 w 1656"/>
              <a:gd name="T55" fmla="*/ 1146 h 1164"/>
              <a:gd name="T56" fmla="*/ 420 w 1656"/>
              <a:gd name="T57" fmla="*/ 1116 h 1164"/>
              <a:gd name="T58" fmla="*/ 384 w 1656"/>
              <a:gd name="T59" fmla="*/ 1164 h 1164"/>
              <a:gd name="T60" fmla="*/ 324 w 1656"/>
              <a:gd name="T61" fmla="*/ 1098 h 1164"/>
              <a:gd name="T62" fmla="*/ 324 w 1656"/>
              <a:gd name="T63" fmla="*/ 1062 h 1164"/>
              <a:gd name="T64" fmla="*/ 294 w 1656"/>
              <a:gd name="T65" fmla="*/ 1020 h 1164"/>
              <a:gd name="T66" fmla="*/ 216 w 1656"/>
              <a:gd name="T67" fmla="*/ 1038 h 1164"/>
              <a:gd name="T68" fmla="*/ 180 w 1656"/>
              <a:gd name="T69" fmla="*/ 1008 h 1164"/>
              <a:gd name="T70" fmla="*/ 114 w 1656"/>
              <a:gd name="T71" fmla="*/ 990 h 1164"/>
              <a:gd name="T72" fmla="*/ 84 w 1656"/>
              <a:gd name="T73" fmla="*/ 972 h 1164"/>
              <a:gd name="T74" fmla="*/ 54 w 1656"/>
              <a:gd name="T75" fmla="*/ 912 h 1164"/>
              <a:gd name="T76" fmla="*/ 12 w 1656"/>
              <a:gd name="T77" fmla="*/ 864 h 1164"/>
              <a:gd name="T78" fmla="*/ 42 w 1656"/>
              <a:gd name="T79" fmla="*/ 792 h 1164"/>
              <a:gd name="T80" fmla="*/ 72 w 1656"/>
              <a:gd name="T81" fmla="*/ 720 h 1164"/>
              <a:gd name="T82" fmla="*/ 126 w 1656"/>
              <a:gd name="T83" fmla="*/ 672 h 1164"/>
              <a:gd name="T84" fmla="*/ 162 w 1656"/>
              <a:gd name="T85" fmla="*/ 630 h 1164"/>
              <a:gd name="T86" fmla="*/ 174 w 1656"/>
              <a:gd name="T87" fmla="*/ 558 h 1164"/>
              <a:gd name="T88" fmla="*/ 90 w 1656"/>
              <a:gd name="T89" fmla="*/ 576 h 1164"/>
              <a:gd name="T90" fmla="*/ 66 w 1656"/>
              <a:gd name="T91" fmla="*/ 516 h 1164"/>
              <a:gd name="T92" fmla="*/ 30 w 1656"/>
              <a:gd name="T93" fmla="*/ 492 h 1164"/>
              <a:gd name="T94" fmla="*/ 6 w 1656"/>
              <a:gd name="T95" fmla="*/ 438 h 1164"/>
              <a:gd name="T96" fmla="*/ 42 w 1656"/>
              <a:gd name="T97" fmla="*/ 372 h 1164"/>
              <a:gd name="T98" fmla="*/ 6 w 1656"/>
              <a:gd name="T99" fmla="*/ 318 h 1164"/>
              <a:gd name="T100" fmla="*/ 60 w 1656"/>
              <a:gd name="T101" fmla="*/ 318 h 1164"/>
              <a:gd name="T102" fmla="*/ 60 w 1656"/>
              <a:gd name="T103" fmla="*/ 354 h 1164"/>
              <a:gd name="T104" fmla="*/ 102 w 1656"/>
              <a:gd name="T105" fmla="*/ 276 h 1164"/>
              <a:gd name="T106" fmla="*/ 174 w 1656"/>
              <a:gd name="T107" fmla="*/ 234 h 1164"/>
              <a:gd name="T108" fmla="*/ 210 w 1656"/>
              <a:gd name="T109" fmla="*/ 162 h 1164"/>
              <a:gd name="T110" fmla="*/ 396 w 1656"/>
              <a:gd name="T111" fmla="*/ 156 h 1164"/>
              <a:gd name="T112" fmla="*/ 612 w 1656"/>
              <a:gd name="T113" fmla="*/ 162 h 1164"/>
              <a:gd name="T114" fmla="*/ 882 w 1656"/>
              <a:gd name="T115" fmla="*/ 144 h 1164"/>
              <a:gd name="T116" fmla="*/ 1074 w 1656"/>
              <a:gd name="T117" fmla="*/ 120 h 1164"/>
              <a:gd name="T118" fmla="*/ 1386 w 1656"/>
              <a:gd name="T119" fmla="*/ 60 h 11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656" h="1164">
                <a:moveTo>
                  <a:pt x="1590" y="0"/>
                </a:moveTo>
                <a:lnTo>
                  <a:pt x="1590" y="6"/>
                </a:lnTo>
                <a:lnTo>
                  <a:pt x="1596" y="6"/>
                </a:lnTo>
                <a:lnTo>
                  <a:pt x="1596" y="12"/>
                </a:lnTo>
                <a:lnTo>
                  <a:pt x="1596" y="18"/>
                </a:lnTo>
                <a:lnTo>
                  <a:pt x="1590" y="18"/>
                </a:lnTo>
                <a:lnTo>
                  <a:pt x="1590" y="24"/>
                </a:lnTo>
                <a:lnTo>
                  <a:pt x="1584" y="30"/>
                </a:lnTo>
                <a:lnTo>
                  <a:pt x="1590" y="30"/>
                </a:lnTo>
                <a:lnTo>
                  <a:pt x="1596" y="24"/>
                </a:lnTo>
                <a:lnTo>
                  <a:pt x="1596" y="30"/>
                </a:lnTo>
                <a:lnTo>
                  <a:pt x="1596" y="36"/>
                </a:lnTo>
                <a:lnTo>
                  <a:pt x="1596" y="42"/>
                </a:lnTo>
                <a:lnTo>
                  <a:pt x="1596" y="48"/>
                </a:lnTo>
                <a:lnTo>
                  <a:pt x="1590" y="54"/>
                </a:lnTo>
                <a:lnTo>
                  <a:pt x="1590" y="60"/>
                </a:lnTo>
                <a:lnTo>
                  <a:pt x="1584" y="60"/>
                </a:lnTo>
                <a:lnTo>
                  <a:pt x="1584" y="54"/>
                </a:lnTo>
                <a:lnTo>
                  <a:pt x="1578" y="54"/>
                </a:lnTo>
                <a:lnTo>
                  <a:pt x="1578" y="60"/>
                </a:lnTo>
                <a:lnTo>
                  <a:pt x="1578" y="66"/>
                </a:lnTo>
                <a:lnTo>
                  <a:pt x="1572" y="66"/>
                </a:lnTo>
                <a:lnTo>
                  <a:pt x="1566" y="66"/>
                </a:lnTo>
                <a:lnTo>
                  <a:pt x="1566" y="72"/>
                </a:lnTo>
                <a:lnTo>
                  <a:pt x="1560" y="72"/>
                </a:lnTo>
                <a:lnTo>
                  <a:pt x="1560" y="78"/>
                </a:lnTo>
                <a:lnTo>
                  <a:pt x="1554" y="78"/>
                </a:lnTo>
                <a:lnTo>
                  <a:pt x="1548" y="72"/>
                </a:lnTo>
                <a:lnTo>
                  <a:pt x="1542" y="72"/>
                </a:lnTo>
                <a:lnTo>
                  <a:pt x="1536" y="72"/>
                </a:lnTo>
                <a:lnTo>
                  <a:pt x="1530" y="72"/>
                </a:lnTo>
                <a:lnTo>
                  <a:pt x="1530" y="78"/>
                </a:lnTo>
                <a:lnTo>
                  <a:pt x="1530" y="84"/>
                </a:lnTo>
                <a:lnTo>
                  <a:pt x="1524" y="90"/>
                </a:lnTo>
                <a:lnTo>
                  <a:pt x="1524" y="96"/>
                </a:lnTo>
                <a:lnTo>
                  <a:pt x="1518" y="96"/>
                </a:lnTo>
                <a:lnTo>
                  <a:pt x="1512" y="96"/>
                </a:lnTo>
                <a:lnTo>
                  <a:pt x="1506" y="96"/>
                </a:lnTo>
                <a:lnTo>
                  <a:pt x="1506" y="90"/>
                </a:lnTo>
                <a:lnTo>
                  <a:pt x="1506" y="96"/>
                </a:lnTo>
                <a:lnTo>
                  <a:pt x="1506" y="102"/>
                </a:lnTo>
                <a:lnTo>
                  <a:pt x="1500" y="102"/>
                </a:lnTo>
                <a:lnTo>
                  <a:pt x="1500" y="108"/>
                </a:lnTo>
                <a:lnTo>
                  <a:pt x="1494" y="108"/>
                </a:lnTo>
                <a:lnTo>
                  <a:pt x="1488" y="108"/>
                </a:lnTo>
                <a:lnTo>
                  <a:pt x="1488" y="114"/>
                </a:lnTo>
                <a:lnTo>
                  <a:pt x="1488" y="120"/>
                </a:lnTo>
                <a:lnTo>
                  <a:pt x="1488" y="126"/>
                </a:lnTo>
                <a:lnTo>
                  <a:pt x="1482" y="126"/>
                </a:lnTo>
                <a:lnTo>
                  <a:pt x="1488" y="132"/>
                </a:lnTo>
                <a:lnTo>
                  <a:pt x="1488" y="138"/>
                </a:lnTo>
                <a:lnTo>
                  <a:pt x="1482" y="138"/>
                </a:lnTo>
                <a:lnTo>
                  <a:pt x="1476" y="138"/>
                </a:lnTo>
                <a:lnTo>
                  <a:pt x="1476" y="144"/>
                </a:lnTo>
                <a:lnTo>
                  <a:pt x="1470" y="144"/>
                </a:lnTo>
                <a:lnTo>
                  <a:pt x="1464" y="144"/>
                </a:lnTo>
                <a:lnTo>
                  <a:pt x="1464" y="150"/>
                </a:lnTo>
                <a:lnTo>
                  <a:pt x="1470" y="150"/>
                </a:lnTo>
                <a:lnTo>
                  <a:pt x="1470" y="156"/>
                </a:lnTo>
                <a:lnTo>
                  <a:pt x="1476" y="156"/>
                </a:lnTo>
                <a:lnTo>
                  <a:pt x="1482" y="156"/>
                </a:lnTo>
                <a:lnTo>
                  <a:pt x="1488" y="156"/>
                </a:lnTo>
                <a:lnTo>
                  <a:pt x="1488" y="162"/>
                </a:lnTo>
                <a:lnTo>
                  <a:pt x="1482" y="162"/>
                </a:lnTo>
                <a:lnTo>
                  <a:pt x="1482" y="168"/>
                </a:lnTo>
                <a:lnTo>
                  <a:pt x="1488" y="168"/>
                </a:lnTo>
                <a:lnTo>
                  <a:pt x="1494" y="174"/>
                </a:lnTo>
                <a:lnTo>
                  <a:pt x="1494" y="180"/>
                </a:lnTo>
                <a:lnTo>
                  <a:pt x="1500" y="180"/>
                </a:lnTo>
                <a:lnTo>
                  <a:pt x="1506" y="180"/>
                </a:lnTo>
                <a:lnTo>
                  <a:pt x="1506" y="186"/>
                </a:lnTo>
                <a:lnTo>
                  <a:pt x="1506" y="192"/>
                </a:lnTo>
                <a:lnTo>
                  <a:pt x="1506" y="186"/>
                </a:lnTo>
                <a:lnTo>
                  <a:pt x="1512" y="186"/>
                </a:lnTo>
                <a:lnTo>
                  <a:pt x="1512" y="192"/>
                </a:lnTo>
                <a:lnTo>
                  <a:pt x="1524" y="192"/>
                </a:lnTo>
                <a:lnTo>
                  <a:pt x="1524" y="186"/>
                </a:lnTo>
                <a:lnTo>
                  <a:pt x="1530" y="180"/>
                </a:lnTo>
                <a:lnTo>
                  <a:pt x="1530" y="186"/>
                </a:lnTo>
                <a:lnTo>
                  <a:pt x="1536" y="192"/>
                </a:lnTo>
                <a:lnTo>
                  <a:pt x="1536" y="198"/>
                </a:lnTo>
                <a:lnTo>
                  <a:pt x="1542" y="198"/>
                </a:lnTo>
                <a:lnTo>
                  <a:pt x="1542" y="204"/>
                </a:lnTo>
                <a:lnTo>
                  <a:pt x="1548" y="204"/>
                </a:lnTo>
                <a:lnTo>
                  <a:pt x="1548" y="210"/>
                </a:lnTo>
                <a:lnTo>
                  <a:pt x="1554" y="210"/>
                </a:lnTo>
                <a:lnTo>
                  <a:pt x="1560" y="216"/>
                </a:lnTo>
                <a:lnTo>
                  <a:pt x="1560" y="222"/>
                </a:lnTo>
                <a:lnTo>
                  <a:pt x="1554" y="222"/>
                </a:lnTo>
                <a:lnTo>
                  <a:pt x="1554" y="228"/>
                </a:lnTo>
                <a:lnTo>
                  <a:pt x="1548" y="228"/>
                </a:lnTo>
                <a:lnTo>
                  <a:pt x="1548" y="234"/>
                </a:lnTo>
                <a:lnTo>
                  <a:pt x="1548" y="240"/>
                </a:lnTo>
                <a:lnTo>
                  <a:pt x="1548" y="246"/>
                </a:lnTo>
                <a:lnTo>
                  <a:pt x="1542" y="246"/>
                </a:lnTo>
                <a:lnTo>
                  <a:pt x="1542" y="252"/>
                </a:lnTo>
                <a:lnTo>
                  <a:pt x="1548" y="252"/>
                </a:lnTo>
                <a:lnTo>
                  <a:pt x="1548" y="258"/>
                </a:lnTo>
                <a:lnTo>
                  <a:pt x="1554" y="258"/>
                </a:lnTo>
                <a:lnTo>
                  <a:pt x="1560" y="258"/>
                </a:lnTo>
                <a:lnTo>
                  <a:pt x="1566" y="258"/>
                </a:lnTo>
                <a:lnTo>
                  <a:pt x="1572" y="264"/>
                </a:lnTo>
                <a:lnTo>
                  <a:pt x="1578" y="264"/>
                </a:lnTo>
                <a:lnTo>
                  <a:pt x="1578" y="270"/>
                </a:lnTo>
                <a:lnTo>
                  <a:pt x="1584" y="270"/>
                </a:lnTo>
                <a:lnTo>
                  <a:pt x="1584" y="276"/>
                </a:lnTo>
                <a:lnTo>
                  <a:pt x="1590" y="282"/>
                </a:lnTo>
                <a:lnTo>
                  <a:pt x="1590" y="288"/>
                </a:lnTo>
                <a:lnTo>
                  <a:pt x="1596" y="288"/>
                </a:lnTo>
                <a:lnTo>
                  <a:pt x="1596" y="294"/>
                </a:lnTo>
                <a:lnTo>
                  <a:pt x="1602" y="294"/>
                </a:lnTo>
                <a:lnTo>
                  <a:pt x="1602" y="300"/>
                </a:lnTo>
                <a:lnTo>
                  <a:pt x="1602" y="306"/>
                </a:lnTo>
                <a:lnTo>
                  <a:pt x="1608" y="306"/>
                </a:lnTo>
                <a:lnTo>
                  <a:pt x="1608" y="312"/>
                </a:lnTo>
                <a:lnTo>
                  <a:pt x="1614" y="312"/>
                </a:lnTo>
                <a:lnTo>
                  <a:pt x="1614" y="318"/>
                </a:lnTo>
                <a:lnTo>
                  <a:pt x="1614" y="324"/>
                </a:lnTo>
                <a:lnTo>
                  <a:pt x="1620" y="324"/>
                </a:lnTo>
                <a:lnTo>
                  <a:pt x="1626" y="324"/>
                </a:lnTo>
                <a:lnTo>
                  <a:pt x="1632" y="324"/>
                </a:lnTo>
                <a:lnTo>
                  <a:pt x="1632" y="330"/>
                </a:lnTo>
                <a:lnTo>
                  <a:pt x="1638" y="330"/>
                </a:lnTo>
                <a:lnTo>
                  <a:pt x="1638" y="336"/>
                </a:lnTo>
                <a:lnTo>
                  <a:pt x="1644" y="336"/>
                </a:lnTo>
                <a:lnTo>
                  <a:pt x="1644" y="342"/>
                </a:lnTo>
                <a:lnTo>
                  <a:pt x="1650" y="348"/>
                </a:lnTo>
                <a:lnTo>
                  <a:pt x="1650" y="354"/>
                </a:lnTo>
                <a:lnTo>
                  <a:pt x="1650" y="360"/>
                </a:lnTo>
                <a:lnTo>
                  <a:pt x="1650" y="366"/>
                </a:lnTo>
                <a:lnTo>
                  <a:pt x="1656" y="366"/>
                </a:lnTo>
                <a:lnTo>
                  <a:pt x="1656" y="372"/>
                </a:lnTo>
                <a:lnTo>
                  <a:pt x="1656" y="378"/>
                </a:lnTo>
                <a:lnTo>
                  <a:pt x="1656" y="384"/>
                </a:lnTo>
                <a:lnTo>
                  <a:pt x="1656" y="390"/>
                </a:lnTo>
                <a:lnTo>
                  <a:pt x="1650" y="390"/>
                </a:lnTo>
                <a:lnTo>
                  <a:pt x="1650" y="396"/>
                </a:lnTo>
                <a:lnTo>
                  <a:pt x="1644" y="402"/>
                </a:lnTo>
                <a:lnTo>
                  <a:pt x="1638" y="408"/>
                </a:lnTo>
                <a:lnTo>
                  <a:pt x="1638" y="414"/>
                </a:lnTo>
                <a:lnTo>
                  <a:pt x="1638" y="420"/>
                </a:lnTo>
                <a:lnTo>
                  <a:pt x="1638" y="426"/>
                </a:lnTo>
                <a:lnTo>
                  <a:pt x="1638" y="432"/>
                </a:lnTo>
                <a:lnTo>
                  <a:pt x="1638" y="438"/>
                </a:lnTo>
                <a:lnTo>
                  <a:pt x="1638" y="444"/>
                </a:lnTo>
                <a:lnTo>
                  <a:pt x="1638" y="450"/>
                </a:lnTo>
                <a:lnTo>
                  <a:pt x="1638" y="456"/>
                </a:lnTo>
                <a:lnTo>
                  <a:pt x="1632" y="456"/>
                </a:lnTo>
                <a:lnTo>
                  <a:pt x="1632" y="462"/>
                </a:lnTo>
                <a:lnTo>
                  <a:pt x="1632" y="468"/>
                </a:lnTo>
                <a:lnTo>
                  <a:pt x="1632" y="474"/>
                </a:lnTo>
                <a:lnTo>
                  <a:pt x="1632" y="480"/>
                </a:lnTo>
                <a:lnTo>
                  <a:pt x="1626" y="480"/>
                </a:lnTo>
                <a:lnTo>
                  <a:pt x="1626" y="474"/>
                </a:lnTo>
                <a:lnTo>
                  <a:pt x="1626" y="480"/>
                </a:lnTo>
                <a:lnTo>
                  <a:pt x="1620" y="480"/>
                </a:lnTo>
                <a:lnTo>
                  <a:pt x="1614" y="480"/>
                </a:lnTo>
                <a:lnTo>
                  <a:pt x="1614" y="486"/>
                </a:lnTo>
                <a:lnTo>
                  <a:pt x="1608" y="486"/>
                </a:lnTo>
                <a:lnTo>
                  <a:pt x="1608" y="480"/>
                </a:lnTo>
                <a:lnTo>
                  <a:pt x="1602" y="480"/>
                </a:lnTo>
                <a:lnTo>
                  <a:pt x="1602" y="486"/>
                </a:lnTo>
                <a:lnTo>
                  <a:pt x="1602" y="492"/>
                </a:lnTo>
                <a:lnTo>
                  <a:pt x="1602" y="498"/>
                </a:lnTo>
                <a:lnTo>
                  <a:pt x="1602" y="504"/>
                </a:lnTo>
                <a:lnTo>
                  <a:pt x="1596" y="504"/>
                </a:lnTo>
                <a:lnTo>
                  <a:pt x="1596" y="510"/>
                </a:lnTo>
                <a:lnTo>
                  <a:pt x="1596" y="516"/>
                </a:lnTo>
                <a:lnTo>
                  <a:pt x="1590" y="516"/>
                </a:lnTo>
                <a:lnTo>
                  <a:pt x="1590" y="510"/>
                </a:lnTo>
                <a:lnTo>
                  <a:pt x="1584" y="504"/>
                </a:lnTo>
                <a:lnTo>
                  <a:pt x="1584" y="510"/>
                </a:lnTo>
                <a:lnTo>
                  <a:pt x="1578" y="510"/>
                </a:lnTo>
                <a:lnTo>
                  <a:pt x="1578" y="516"/>
                </a:lnTo>
                <a:lnTo>
                  <a:pt x="1572" y="516"/>
                </a:lnTo>
                <a:lnTo>
                  <a:pt x="1566" y="522"/>
                </a:lnTo>
                <a:lnTo>
                  <a:pt x="1566" y="528"/>
                </a:lnTo>
                <a:lnTo>
                  <a:pt x="1560" y="534"/>
                </a:lnTo>
                <a:lnTo>
                  <a:pt x="1554" y="534"/>
                </a:lnTo>
                <a:lnTo>
                  <a:pt x="1548" y="534"/>
                </a:lnTo>
                <a:lnTo>
                  <a:pt x="1536" y="534"/>
                </a:lnTo>
                <a:lnTo>
                  <a:pt x="1536" y="540"/>
                </a:lnTo>
                <a:lnTo>
                  <a:pt x="1542" y="540"/>
                </a:lnTo>
                <a:lnTo>
                  <a:pt x="1536" y="540"/>
                </a:lnTo>
                <a:lnTo>
                  <a:pt x="1536" y="546"/>
                </a:lnTo>
                <a:lnTo>
                  <a:pt x="1536" y="552"/>
                </a:lnTo>
                <a:lnTo>
                  <a:pt x="1542" y="552"/>
                </a:lnTo>
                <a:lnTo>
                  <a:pt x="1542" y="558"/>
                </a:lnTo>
                <a:lnTo>
                  <a:pt x="1542" y="564"/>
                </a:lnTo>
                <a:lnTo>
                  <a:pt x="1536" y="564"/>
                </a:lnTo>
                <a:lnTo>
                  <a:pt x="1536" y="570"/>
                </a:lnTo>
                <a:lnTo>
                  <a:pt x="1530" y="570"/>
                </a:lnTo>
                <a:lnTo>
                  <a:pt x="1530" y="564"/>
                </a:lnTo>
                <a:lnTo>
                  <a:pt x="1524" y="564"/>
                </a:lnTo>
                <a:lnTo>
                  <a:pt x="1530" y="558"/>
                </a:lnTo>
                <a:lnTo>
                  <a:pt x="1518" y="558"/>
                </a:lnTo>
                <a:lnTo>
                  <a:pt x="1506" y="570"/>
                </a:lnTo>
                <a:lnTo>
                  <a:pt x="1506" y="564"/>
                </a:lnTo>
                <a:lnTo>
                  <a:pt x="1506" y="570"/>
                </a:lnTo>
                <a:lnTo>
                  <a:pt x="1500" y="570"/>
                </a:lnTo>
                <a:lnTo>
                  <a:pt x="1500" y="576"/>
                </a:lnTo>
                <a:lnTo>
                  <a:pt x="1494" y="582"/>
                </a:lnTo>
                <a:lnTo>
                  <a:pt x="1494" y="576"/>
                </a:lnTo>
                <a:lnTo>
                  <a:pt x="1494" y="582"/>
                </a:lnTo>
                <a:lnTo>
                  <a:pt x="1488" y="582"/>
                </a:lnTo>
                <a:lnTo>
                  <a:pt x="1488" y="588"/>
                </a:lnTo>
                <a:lnTo>
                  <a:pt x="1482" y="594"/>
                </a:lnTo>
                <a:lnTo>
                  <a:pt x="1482" y="600"/>
                </a:lnTo>
                <a:lnTo>
                  <a:pt x="1476" y="600"/>
                </a:lnTo>
                <a:lnTo>
                  <a:pt x="1470" y="606"/>
                </a:lnTo>
                <a:lnTo>
                  <a:pt x="1470" y="612"/>
                </a:lnTo>
                <a:lnTo>
                  <a:pt x="1464" y="612"/>
                </a:lnTo>
                <a:lnTo>
                  <a:pt x="1458" y="618"/>
                </a:lnTo>
                <a:lnTo>
                  <a:pt x="1458" y="624"/>
                </a:lnTo>
                <a:lnTo>
                  <a:pt x="1452" y="630"/>
                </a:lnTo>
                <a:lnTo>
                  <a:pt x="1452" y="636"/>
                </a:lnTo>
                <a:lnTo>
                  <a:pt x="1446" y="636"/>
                </a:lnTo>
                <a:lnTo>
                  <a:pt x="1446" y="642"/>
                </a:lnTo>
                <a:lnTo>
                  <a:pt x="1440" y="648"/>
                </a:lnTo>
                <a:lnTo>
                  <a:pt x="1440" y="654"/>
                </a:lnTo>
                <a:lnTo>
                  <a:pt x="1434" y="654"/>
                </a:lnTo>
                <a:lnTo>
                  <a:pt x="1434" y="660"/>
                </a:lnTo>
                <a:lnTo>
                  <a:pt x="1428" y="660"/>
                </a:lnTo>
                <a:lnTo>
                  <a:pt x="1428" y="666"/>
                </a:lnTo>
                <a:lnTo>
                  <a:pt x="1422" y="672"/>
                </a:lnTo>
                <a:lnTo>
                  <a:pt x="1416" y="672"/>
                </a:lnTo>
                <a:lnTo>
                  <a:pt x="1416" y="678"/>
                </a:lnTo>
                <a:lnTo>
                  <a:pt x="1410" y="678"/>
                </a:lnTo>
                <a:lnTo>
                  <a:pt x="1410" y="684"/>
                </a:lnTo>
                <a:lnTo>
                  <a:pt x="1404" y="684"/>
                </a:lnTo>
                <a:lnTo>
                  <a:pt x="1404" y="690"/>
                </a:lnTo>
                <a:lnTo>
                  <a:pt x="1398" y="690"/>
                </a:lnTo>
                <a:lnTo>
                  <a:pt x="1392" y="696"/>
                </a:lnTo>
                <a:lnTo>
                  <a:pt x="1386" y="696"/>
                </a:lnTo>
                <a:lnTo>
                  <a:pt x="1380" y="696"/>
                </a:lnTo>
                <a:lnTo>
                  <a:pt x="1380" y="702"/>
                </a:lnTo>
                <a:lnTo>
                  <a:pt x="1374" y="702"/>
                </a:lnTo>
                <a:lnTo>
                  <a:pt x="1368" y="702"/>
                </a:lnTo>
                <a:lnTo>
                  <a:pt x="1368" y="708"/>
                </a:lnTo>
                <a:lnTo>
                  <a:pt x="1368" y="714"/>
                </a:lnTo>
                <a:lnTo>
                  <a:pt x="1368" y="720"/>
                </a:lnTo>
                <a:lnTo>
                  <a:pt x="1368" y="726"/>
                </a:lnTo>
                <a:lnTo>
                  <a:pt x="1362" y="726"/>
                </a:lnTo>
                <a:lnTo>
                  <a:pt x="1362" y="732"/>
                </a:lnTo>
                <a:lnTo>
                  <a:pt x="1356" y="732"/>
                </a:lnTo>
                <a:lnTo>
                  <a:pt x="1356" y="726"/>
                </a:lnTo>
                <a:lnTo>
                  <a:pt x="1350" y="726"/>
                </a:lnTo>
                <a:lnTo>
                  <a:pt x="1350" y="720"/>
                </a:lnTo>
                <a:lnTo>
                  <a:pt x="1344" y="720"/>
                </a:lnTo>
                <a:lnTo>
                  <a:pt x="1338" y="720"/>
                </a:lnTo>
                <a:lnTo>
                  <a:pt x="1338" y="714"/>
                </a:lnTo>
                <a:lnTo>
                  <a:pt x="1338" y="720"/>
                </a:lnTo>
                <a:lnTo>
                  <a:pt x="1332" y="726"/>
                </a:lnTo>
                <a:lnTo>
                  <a:pt x="1326" y="726"/>
                </a:lnTo>
                <a:lnTo>
                  <a:pt x="1326" y="732"/>
                </a:lnTo>
                <a:lnTo>
                  <a:pt x="1320" y="732"/>
                </a:lnTo>
                <a:lnTo>
                  <a:pt x="1320" y="726"/>
                </a:lnTo>
                <a:lnTo>
                  <a:pt x="1314" y="732"/>
                </a:lnTo>
                <a:lnTo>
                  <a:pt x="1308" y="738"/>
                </a:lnTo>
                <a:lnTo>
                  <a:pt x="1308" y="744"/>
                </a:lnTo>
                <a:lnTo>
                  <a:pt x="1302" y="744"/>
                </a:lnTo>
                <a:lnTo>
                  <a:pt x="1308" y="750"/>
                </a:lnTo>
                <a:lnTo>
                  <a:pt x="1308" y="756"/>
                </a:lnTo>
                <a:lnTo>
                  <a:pt x="1302" y="756"/>
                </a:lnTo>
                <a:lnTo>
                  <a:pt x="1302" y="762"/>
                </a:lnTo>
                <a:lnTo>
                  <a:pt x="1302" y="768"/>
                </a:lnTo>
                <a:lnTo>
                  <a:pt x="1296" y="774"/>
                </a:lnTo>
                <a:lnTo>
                  <a:pt x="1296" y="768"/>
                </a:lnTo>
                <a:lnTo>
                  <a:pt x="1290" y="774"/>
                </a:lnTo>
                <a:lnTo>
                  <a:pt x="1284" y="774"/>
                </a:lnTo>
                <a:lnTo>
                  <a:pt x="1278" y="774"/>
                </a:lnTo>
                <a:lnTo>
                  <a:pt x="1272" y="774"/>
                </a:lnTo>
                <a:lnTo>
                  <a:pt x="1272" y="768"/>
                </a:lnTo>
                <a:lnTo>
                  <a:pt x="1266" y="768"/>
                </a:lnTo>
                <a:lnTo>
                  <a:pt x="1260" y="768"/>
                </a:lnTo>
                <a:lnTo>
                  <a:pt x="1260" y="762"/>
                </a:lnTo>
                <a:lnTo>
                  <a:pt x="1254" y="762"/>
                </a:lnTo>
                <a:lnTo>
                  <a:pt x="1248" y="762"/>
                </a:lnTo>
                <a:lnTo>
                  <a:pt x="1242" y="762"/>
                </a:lnTo>
                <a:lnTo>
                  <a:pt x="1236" y="762"/>
                </a:lnTo>
                <a:lnTo>
                  <a:pt x="1230" y="762"/>
                </a:lnTo>
                <a:lnTo>
                  <a:pt x="1224" y="762"/>
                </a:lnTo>
                <a:lnTo>
                  <a:pt x="1218" y="762"/>
                </a:lnTo>
                <a:lnTo>
                  <a:pt x="1212" y="762"/>
                </a:lnTo>
                <a:lnTo>
                  <a:pt x="1206" y="762"/>
                </a:lnTo>
                <a:lnTo>
                  <a:pt x="1200" y="762"/>
                </a:lnTo>
                <a:lnTo>
                  <a:pt x="1200" y="768"/>
                </a:lnTo>
                <a:lnTo>
                  <a:pt x="1194" y="768"/>
                </a:lnTo>
                <a:lnTo>
                  <a:pt x="1188" y="774"/>
                </a:lnTo>
                <a:lnTo>
                  <a:pt x="1182" y="774"/>
                </a:lnTo>
                <a:lnTo>
                  <a:pt x="1176" y="774"/>
                </a:lnTo>
                <a:lnTo>
                  <a:pt x="1170" y="774"/>
                </a:lnTo>
                <a:lnTo>
                  <a:pt x="1170" y="780"/>
                </a:lnTo>
                <a:lnTo>
                  <a:pt x="1164" y="780"/>
                </a:lnTo>
                <a:lnTo>
                  <a:pt x="1158" y="780"/>
                </a:lnTo>
                <a:lnTo>
                  <a:pt x="1152" y="780"/>
                </a:lnTo>
                <a:lnTo>
                  <a:pt x="1152" y="786"/>
                </a:lnTo>
                <a:lnTo>
                  <a:pt x="1152" y="780"/>
                </a:lnTo>
                <a:lnTo>
                  <a:pt x="1146" y="786"/>
                </a:lnTo>
                <a:lnTo>
                  <a:pt x="1140" y="786"/>
                </a:lnTo>
                <a:lnTo>
                  <a:pt x="1134" y="786"/>
                </a:lnTo>
                <a:lnTo>
                  <a:pt x="1128" y="786"/>
                </a:lnTo>
                <a:lnTo>
                  <a:pt x="1128" y="792"/>
                </a:lnTo>
                <a:lnTo>
                  <a:pt x="1122" y="792"/>
                </a:lnTo>
                <a:lnTo>
                  <a:pt x="1116" y="798"/>
                </a:lnTo>
                <a:lnTo>
                  <a:pt x="1110" y="798"/>
                </a:lnTo>
                <a:lnTo>
                  <a:pt x="1104" y="798"/>
                </a:lnTo>
                <a:lnTo>
                  <a:pt x="1104" y="804"/>
                </a:lnTo>
                <a:lnTo>
                  <a:pt x="1098" y="804"/>
                </a:lnTo>
                <a:lnTo>
                  <a:pt x="1092" y="804"/>
                </a:lnTo>
                <a:lnTo>
                  <a:pt x="1092" y="810"/>
                </a:lnTo>
                <a:lnTo>
                  <a:pt x="1098" y="810"/>
                </a:lnTo>
                <a:lnTo>
                  <a:pt x="1098" y="816"/>
                </a:lnTo>
                <a:lnTo>
                  <a:pt x="1092" y="816"/>
                </a:lnTo>
                <a:lnTo>
                  <a:pt x="1086" y="816"/>
                </a:lnTo>
                <a:lnTo>
                  <a:pt x="1086" y="822"/>
                </a:lnTo>
                <a:lnTo>
                  <a:pt x="1092" y="822"/>
                </a:lnTo>
                <a:lnTo>
                  <a:pt x="1092" y="828"/>
                </a:lnTo>
                <a:lnTo>
                  <a:pt x="1092" y="834"/>
                </a:lnTo>
                <a:lnTo>
                  <a:pt x="1086" y="834"/>
                </a:lnTo>
                <a:lnTo>
                  <a:pt x="1080" y="834"/>
                </a:lnTo>
                <a:lnTo>
                  <a:pt x="1074" y="834"/>
                </a:lnTo>
                <a:lnTo>
                  <a:pt x="1074" y="840"/>
                </a:lnTo>
                <a:lnTo>
                  <a:pt x="1068" y="840"/>
                </a:lnTo>
                <a:lnTo>
                  <a:pt x="1068" y="846"/>
                </a:lnTo>
                <a:lnTo>
                  <a:pt x="1068" y="840"/>
                </a:lnTo>
                <a:lnTo>
                  <a:pt x="1062" y="846"/>
                </a:lnTo>
                <a:lnTo>
                  <a:pt x="1062" y="852"/>
                </a:lnTo>
                <a:lnTo>
                  <a:pt x="1056" y="846"/>
                </a:lnTo>
                <a:lnTo>
                  <a:pt x="1050" y="846"/>
                </a:lnTo>
                <a:lnTo>
                  <a:pt x="1044" y="846"/>
                </a:lnTo>
                <a:lnTo>
                  <a:pt x="1038" y="846"/>
                </a:lnTo>
                <a:lnTo>
                  <a:pt x="1032" y="846"/>
                </a:lnTo>
                <a:lnTo>
                  <a:pt x="1032" y="852"/>
                </a:lnTo>
                <a:lnTo>
                  <a:pt x="1032" y="858"/>
                </a:lnTo>
                <a:lnTo>
                  <a:pt x="1026" y="858"/>
                </a:lnTo>
                <a:lnTo>
                  <a:pt x="1026" y="852"/>
                </a:lnTo>
                <a:lnTo>
                  <a:pt x="1032" y="852"/>
                </a:lnTo>
                <a:lnTo>
                  <a:pt x="1026" y="846"/>
                </a:lnTo>
                <a:lnTo>
                  <a:pt x="1020" y="846"/>
                </a:lnTo>
                <a:lnTo>
                  <a:pt x="1014" y="852"/>
                </a:lnTo>
                <a:lnTo>
                  <a:pt x="1002" y="864"/>
                </a:lnTo>
                <a:lnTo>
                  <a:pt x="996" y="864"/>
                </a:lnTo>
                <a:lnTo>
                  <a:pt x="996" y="870"/>
                </a:lnTo>
                <a:lnTo>
                  <a:pt x="990" y="870"/>
                </a:lnTo>
                <a:lnTo>
                  <a:pt x="990" y="876"/>
                </a:lnTo>
                <a:lnTo>
                  <a:pt x="984" y="876"/>
                </a:lnTo>
                <a:lnTo>
                  <a:pt x="978" y="882"/>
                </a:lnTo>
                <a:lnTo>
                  <a:pt x="972" y="888"/>
                </a:lnTo>
                <a:lnTo>
                  <a:pt x="966" y="894"/>
                </a:lnTo>
                <a:lnTo>
                  <a:pt x="966" y="900"/>
                </a:lnTo>
                <a:lnTo>
                  <a:pt x="966" y="906"/>
                </a:lnTo>
                <a:lnTo>
                  <a:pt x="960" y="906"/>
                </a:lnTo>
                <a:lnTo>
                  <a:pt x="960" y="912"/>
                </a:lnTo>
                <a:lnTo>
                  <a:pt x="954" y="912"/>
                </a:lnTo>
                <a:lnTo>
                  <a:pt x="954" y="918"/>
                </a:lnTo>
                <a:lnTo>
                  <a:pt x="948" y="918"/>
                </a:lnTo>
                <a:lnTo>
                  <a:pt x="942" y="924"/>
                </a:lnTo>
                <a:lnTo>
                  <a:pt x="930" y="936"/>
                </a:lnTo>
                <a:lnTo>
                  <a:pt x="930" y="930"/>
                </a:lnTo>
                <a:lnTo>
                  <a:pt x="924" y="930"/>
                </a:lnTo>
                <a:lnTo>
                  <a:pt x="924" y="924"/>
                </a:lnTo>
                <a:lnTo>
                  <a:pt x="918" y="924"/>
                </a:lnTo>
                <a:lnTo>
                  <a:pt x="912" y="918"/>
                </a:lnTo>
                <a:lnTo>
                  <a:pt x="906" y="918"/>
                </a:lnTo>
                <a:lnTo>
                  <a:pt x="900" y="918"/>
                </a:lnTo>
                <a:lnTo>
                  <a:pt x="894" y="924"/>
                </a:lnTo>
                <a:lnTo>
                  <a:pt x="888" y="924"/>
                </a:lnTo>
                <a:lnTo>
                  <a:pt x="882" y="924"/>
                </a:lnTo>
                <a:lnTo>
                  <a:pt x="876" y="924"/>
                </a:lnTo>
                <a:lnTo>
                  <a:pt x="882" y="924"/>
                </a:lnTo>
                <a:lnTo>
                  <a:pt x="876" y="924"/>
                </a:lnTo>
                <a:lnTo>
                  <a:pt x="876" y="930"/>
                </a:lnTo>
                <a:lnTo>
                  <a:pt x="870" y="930"/>
                </a:lnTo>
                <a:lnTo>
                  <a:pt x="864" y="930"/>
                </a:lnTo>
                <a:lnTo>
                  <a:pt x="864" y="936"/>
                </a:lnTo>
                <a:lnTo>
                  <a:pt x="864" y="942"/>
                </a:lnTo>
                <a:lnTo>
                  <a:pt x="870" y="942"/>
                </a:lnTo>
                <a:lnTo>
                  <a:pt x="870" y="948"/>
                </a:lnTo>
                <a:lnTo>
                  <a:pt x="876" y="948"/>
                </a:lnTo>
                <a:lnTo>
                  <a:pt x="876" y="954"/>
                </a:lnTo>
                <a:lnTo>
                  <a:pt x="870" y="954"/>
                </a:lnTo>
                <a:lnTo>
                  <a:pt x="870" y="960"/>
                </a:lnTo>
                <a:lnTo>
                  <a:pt x="870" y="954"/>
                </a:lnTo>
                <a:lnTo>
                  <a:pt x="864" y="954"/>
                </a:lnTo>
                <a:lnTo>
                  <a:pt x="864" y="960"/>
                </a:lnTo>
                <a:lnTo>
                  <a:pt x="858" y="960"/>
                </a:lnTo>
                <a:lnTo>
                  <a:pt x="852" y="960"/>
                </a:lnTo>
                <a:lnTo>
                  <a:pt x="852" y="954"/>
                </a:lnTo>
                <a:lnTo>
                  <a:pt x="846" y="960"/>
                </a:lnTo>
                <a:lnTo>
                  <a:pt x="846" y="966"/>
                </a:lnTo>
                <a:lnTo>
                  <a:pt x="846" y="972"/>
                </a:lnTo>
                <a:lnTo>
                  <a:pt x="846" y="978"/>
                </a:lnTo>
                <a:lnTo>
                  <a:pt x="840" y="978"/>
                </a:lnTo>
                <a:lnTo>
                  <a:pt x="840" y="984"/>
                </a:lnTo>
                <a:lnTo>
                  <a:pt x="840" y="978"/>
                </a:lnTo>
                <a:lnTo>
                  <a:pt x="834" y="978"/>
                </a:lnTo>
                <a:lnTo>
                  <a:pt x="828" y="978"/>
                </a:lnTo>
                <a:lnTo>
                  <a:pt x="828" y="972"/>
                </a:lnTo>
                <a:lnTo>
                  <a:pt x="822" y="972"/>
                </a:lnTo>
                <a:lnTo>
                  <a:pt x="816" y="972"/>
                </a:lnTo>
                <a:lnTo>
                  <a:pt x="810" y="972"/>
                </a:lnTo>
                <a:lnTo>
                  <a:pt x="804" y="972"/>
                </a:lnTo>
                <a:lnTo>
                  <a:pt x="798" y="972"/>
                </a:lnTo>
                <a:lnTo>
                  <a:pt x="798" y="966"/>
                </a:lnTo>
                <a:lnTo>
                  <a:pt x="798" y="972"/>
                </a:lnTo>
                <a:lnTo>
                  <a:pt x="792" y="972"/>
                </a:lnTo>
                <a:lnTo>
                  <a:pt x="792" y="966"/>
                </a:lnTo>
                <a:lnTo>
                  <a:pt x="792" y="972"/>
                </a:lnTo>
                <a:lnTo>
                  <a:pt x="786" y="972"/>
                </a:lnTo>
                <a:lnTo>
                  <a:pt x="792" y="972"/>
                </a:lnTo>
                <a:lnTo>
                  <a:pt x="792" y="978"/>
                </a:lnTo>
                <a:lnTo>
                  <a:pt x="786" y="978"/>
                </a:lnTo>
                <a:lnTo>
                  <a:pt x="780" y="978"/>
                </a:lnTo>
                <a:lnTo>
                  <a:pt x="780" y="972"/>
                </a:lnTo>
                <a:lnTo>
                  <a:pt x="774" y="972"/>
                </a:lnTo>
                <a:lnTo>
                  <a:pt x="774" y="978"/>
                </a:lnTo>
                <a:lnTo>
                  <a:pt x="774" y="984"/>
                </a:lnTo>
                <a:lnTo>
                  <a:pt x="768" y="984"/>
                </a:lnTo>
                <a:lnTo>
                  <a:pt x="768" y="996"/>
                </a:lnTo>
                <a:lnTo>
                  <a:pt x="762" y="1008"/>
                </a:lnTo>
                <a:lnTo>
                  <a:pt x="762" y="1014"/>
                </a:lnTo>
                <a:lnTo>
                  <a:pt x="756" y="1014"/>
                </a:lnTo>
                <a:lnTo>
                  <a:pt x="756" y="1020"/>
                </a:lnTo>
                <a:lnTo>
                  <a:pt x="756" y="1026"/>
                </a:lnTo>
                <a:lnTo>
                  <a:pt x="750" y="1026"/>
                </a:lnTo>
                <a:lnTo>
                  <a:pt x="732" y="1026"/>
                </a:lnTo>
                <a:lnTo>
                  <a:pt x="738" y="1038"/>
                </a:lnTo>
                <a:lnTo>
                  <a:pt x="726" y="1044"/>
                </a:lnTo>
                <a:lnTo>
                  <a:pt x="720" y="1044"/>
                </a:lnTo>
                <a:lnTo>
                  <a:pt x="714" y="1044"/>
                </a:lnTo>
                <a:lnTo>
                  <a:pt x="714" y="1050"/>
                </a:lnTo>
                <a:lnTo>
                  <a:pt x="714" y="1056"/>
                </a:lnTo>
                <a:lnTo>
                  <a:pt x="708" y="1056"/>
                </a:lnTo>
                <a:lnTo>
                  <a:pt x="708" y="1050"/>
                </a:lnTo>
                <a:lnTo>
                  <a:pt x="702" y="1050"/>
                </a:lnTo>
                <a:lnTo>
                  <a:pt x="696" y="1056"/>
                </a:lnTo>
                <a:lnTo>
                  <a:pt x="690" y="1056"/>
                </a:lnTo>
                <a:lnTo>
                  <a:pt x="690" y="1050"/>
                </a:lnTo>
                <a:lnTo>
                  <a:pt x="678" y="1050"/>
                </a:lnTo>
                <a:lnTo>
                  <a:pt x="672" y="1050"/>
                </a:lnTo>
                <a:lnTo>
                  <a:pt x="666" y="1044"/>
                </a:lnTo>
                <a:lnTo>
                  <a:pt x="648" y="1062"/>
                </a:lnTo>
                <a:lnTo>
                  <a:pt x="648" y="1068"/>
                </a:lnTo>
                <a:lnTo>
                  <a:pt x="648" y="1074"/>
                </a:lnTo>
                <a:lnTo>
                  <a:pt x="648" y="1080"/>
                </a:lnTo>
                <a:lnTo>
                  <a:pt x="648" y="1086"/>
                </a:lnTo>
                <a:lnTo>
                  <a:pt x="642" y="1086"/>
                </a:lnTo>
                <a:lnTo>
                  <a:pt x="642" y="1092"/>
                </a:lnTo>
                <a:lnTo>
                  <a:pt x="636" y="1092"/>
                </a:lnTo>
                <a:lnTo>
                  <a:pt x="636" y="1098"/>
                </a:lnTo>
                <a:lnTo>
                  <a:pt x="636" y="1104"/>
                </a:lnTo>
                <a:lnTo>
                  <a:pt x="642" y="1104"/>
                </a:lnTo>
                <a:lnTo>
                  <a:pt x="642" y="1110"/>
                </a:lnTo>
                <a:lnTo>
                  <a:pt x="636" y="1110"/>
                </a:lnTo>
                <a:lnTo>
                  <a:pt x="642" y="1110"/>
                </a:lnTo>
                <a:lnTo>
                  <a:pt x="642" y="1116"/>
                </a:lnTo>
                <a:lnTo>
                  <a:pt x="648" y="1122"/>
                </a:lnTo>
                <a:lnTo>
                  <a:pt x="648" y="1128"/>
                </a:lnTo>
                <a:lnTo>
                  <a:pt x="654" y="1128"/>
                </a:lnTo>
                <a:lnTo>
                  <a:pt x="654" y="1134"/>
                </a:lnTo>
                <a:lnTo>
                  <a:pt x="648" y="1134"/>
                </a:lnTo>
                <a:lnTo>
                  <a:pt x="642" y="1134"/>
                </a:lnTo>
                <a:lnTo>
                  <a:pt x="636" y="1134"/>
                </a:lnTo>
                <a:lnTo>
                  <a:pt x="642" y="1128"/>
                </a:lnTo>
                <a:lnTo>
                  <a:pt x="636" y="1128"/>
                </a:lnTo>
                <a:lnTo>
                  <a:pt x="624" y="1122"/>
                </a:lnTo>
                <a:lnTo>
                  <a:pt x="630" y="1128"/>
                </a:lnTo>
                <a:lnTo>
                  <a:pt x="624" y="1128"/>
                </a:lnTo>
                <a:lnTo>
                  <a:pt x="624" y="1134"/>
                </a:lnTo>
                <a:lnTo>
                  <a:pt x="618" y="1134"/>
                </a:lnTo>
                <a:lnTo>
                  <a:pt x="612" y="1134"/>
                </a:lnTo>
                <a:lnTo>
                  <a:pt x="606" y="1140"/>
                </a:lnTo>
                <a:lnTo>
                  <a:pt x="606" y="1134"/>
                </a:lnTo>
                <a:lnTo>
                  <a:pt x="600" y="1140"/>
                </a:lnTo>
                <a:lnTo>
                  <a:pt x="594" y="1140"/>
                </a:lnTo>
                <a:lnTo>
                  <a:pt x="588" y="1140"/>
                </a:lnTo>
                <a:lnTo>
                  <a:pt x="582" y="1140"/>
                </a:lnTo>
                <a:lnTo>
                  <a:pt x="576" y="1140"/>
                </a:lnTo>
                <a:lnTo>
                  <a:pt x="570" y="1134"/>
                </a:lnTo>
                <a:lnTo>
                  <a:pt x="564" y="1134"/>
                </a:lnTo>
                <a:lnTo>
                  <a:pt x="558" y="1134"/>
                </a:lnTo>
                <a:lnTo>
                  <a:pt x="552" y="1134"/>
                </a:lnTo>
                <a:lnTo>
                  <a:pt x="546" y="1134"/>
                </a:lnTo>
                <a:lnTo>
                  <a:pt x="540" y="1134"/>
                </a:lnTo>
                <a:lnTo>
                  <a:pt x="540" y="1140"/>
                </a:lnTo>
                <a:lnTo>
                  <a:pt x="540" y="1146"/>
                </a:lnTo>
                <a:lnTo>
                  <a:pt x="534" y="1146"/>
                </a:lnTo>
                <a:lnTo>
                  <a:pt x="528" y="1146"/>
                </a:lnTo>
                <a:lnTo>
                  <a:pt x="522" y="1146"/>
                </a:lnTo>
                <a:lnTo>
                  <a:pt x="522" y="1140"/>
                </a:lnTo>
                <a:lnTo>
                  <a:pt x="516" y="1134"/>
                </a:lnTo>
                <a:lnTo>
                  <a:pt x="510" y="1134"/>
                </a:lnTo>
                <a:lnTo>
                  <a:pt x="510" y="1128"/>
                </a:lnTo>
                <a:lnTo>
                  <a:pt x="504" y="1128"/>
                </a:lnTo>
                <a:lnTo>
                  <a:pt x="504" y="1134"/>
                </a:lnTo>
                <a:lnTo>
                  <a:pt x="498" y="1134"/>
                </a:lnTo>
                <a:lnTo>
                  <a:pt x="498" y="1140"/>
                </a:lnTo>
                <a:lnTo>
                  <a:pt x="492" y="1140"/>
                </a:lnTo>
                <a:lnTo>
                  <a:pt x="486" y="1140"/>
                </a:lnTo>
                <a:lnTo>
                  <a:pt x="486" y="1146"/>
                </a:lnTo>
                <a:lnTo>
                  <a:pt x="486" y="1140"/>
                </a:lnTo>
                <a:lnTo>
                  <a:pt x="480" y="1140"/>
                </a:lnTo>
                <a:lnTo>
                  <a:pt x="480" y="1146"/>
                </a:lnTo>
                <a:lnTo>
                  <a:pt x="480" y="1152"/>
                </a:lnTo>
                <a:lnTo>
                  <a:pt x="474" y="1152"/>
                </a:lnTo>
                <a:lnTo>
                  <a:pt x="474" y="1146"/>
                </a:lnTo>
                <a:lnTo>
                  <a:pt x="468" y="1146"/>
                </a:lnTo>
                <a:lnTo>
                  <a:pt x="468" y="1152"/>
                </a:lnTo>
                <a:lnTo>
                  <a:pt x="462" y="1152"/>
                </a:lnTo>
                <a:lnTo>
                  <a:pt x="456" y="1152"/>
                </a:lnTo>
                <a:lnTo>
                  <a:pt x="450" y="1152"/>
                </a:lnTo>
                <a:lnTo>
                  <a:pt x="444" y="1152"/>
                </a:lnTo>
                <a:lnTo>
                  <a:pt x="444" y="1146"/>
                </a:lnTo>
                <a:lnTo>
                  <a:pt x="438" y="1140"/>
                </a:lnTo>
                <a:lnTo>
                  <a:pt x="432" y="1140"/>
                </a:lnTo>
                <a:lnTo>
                  <a:pt x="426" y="1140"/>
                </a:lnTo>
                <a:lnTo>
                  <a:pt x="426" y="1134"/>
                </a:lnTo>
                <a:lnTo>
                  <a:pt x="420" y="1134"/>
                </a:lnTo>
                <a:lnTo>
                  <a:pt x="420" y="1128"/>
                </a:lnTo>
                <a:lnTo>
                  <a:pt x="420" y="1122"/>
                </a:lnTo>
                <a:lnTo>
                  <a:pt x="420" y="1116"/>
                </a:lnTo>
                <a:lnTo>
                  <a:pt x="420" y="1110"/>
                </a:lnTo>
                <a:lnTo>
                  <a:pt x="414" y="1110"/>
                </a:lnTo>
                <a:lnTo>
                  <a:pt x="414" y="1104"/>
                </a:lnTo>
                <a:lnTo>
                  <a:pt x="414" y="1110"/>
                </a:lnTo>
                <a:lnTo>
                  <a:pt x="408" y="1110"/>
                </a:lnTo>
                <a:lnTo>
                  <a:pt x="402" y="1110"/>
                </a:lnTo>
                <a:lnTo>
                  <a:pt x="402" y="1116"/>
                </a:lnTo>
                <a:lnTo>
                  <a:pt x="396" y="1116"/>
                </a:lnTo>
                <a:lnTo>
                  <a:pt x="396" y="1122"/>
                </a:lnTo>
                <a:lnTo>
                  <a:pt x="390" y="1122"/>
                </a:lnTo>
                <a:lnTo>
                  <a:pt x="390" y="1128"/>
                </a:lnTo>
                <a:lnTo>
                  <a:pt x="384" y="1128"/>
                </a:lnTo>
                <a:lnTo>
                  <a:pt x="384" y="1134"/>
                </a:lnTo>
                <a:lnTo>
                  <a:pt x="378" y="1140"/>
                </a:lnTo>
                <a:lnTo>
                  <a:pt x="384" y="1146"/>
                </a:lnTo>
                <a:lnTo>
                  <a:pt x="384" y="1152"/>
                </a:lnTo>
                <a:lnTo>
                  <a:pt x="390" y="1164"/>
                </a:lnTo>
                <a:lnTo>
                  <a:pt x="384" y="1164"/>
                </a:lnTo>
                <a:lnTo>
                  <a:pt x="366" y="1158"/>
                </a:lnTo>
                <a:lnTo>
                  <a:pt x="360" y="1158"/>
                </a:lnTo>
                <a:lnTo>
                  <a:pt x="354" y="1158"/>
                </a:lnTo>
                <a:lnTo>
                  <a:pt x="348" y="1158"/>
                </a:lnTo>
                <a:lnTo>
                  <a:pt x="348" y="1152"/>
                </a:lnTo>
                <a:lnTo>
                  <a:pt x="348" y="1146"/>
                </a:lnTo>
                <a:lnTo>
                  <a:pt x="348" y="1140"/>
                </a:lnTo>
                <a:lnTo>
                  <a:pt x="342" y="1140"/>
                </a:lnTo>
                <a:lnTo>
                  <a:pt x="342" y="1134"/>
                </a:lnTo>
                <a:lnTo>
                  <a:pt x="342" y="1128"/>
                </a:lnTo>
                <a:lnTo>
                  <a:pt x="336" y="1122"/>
                </a:lnTo>
                <a:lnTo>
                  <a:pt x="342" y="1116"/>
                </a:lnTo>
                <a:lnTo>
                  <a:pt x="342" y="1110"/>
                </a:lnTo>
                <a:lnTo>
                  <a:pt x="336" y="1110"/>
                </a:lnTo>
                <a:lnTo>
                  <a:pt x="336" y="1104"/>
                </a:lnTo>
                <a:lnTo>
                  <a:pt x="330" y="1104"/>
                </a:lnTo>
                <a:lnTo>
                  <a:pt x="324" y="1104"/>
                </a:lnTo>
                <a:lnTo>
                  <a:pt x="324" y="1098"/>
                </a:lnTo>
                <a:lnTo>
                  <a:pt x="318" y="1098"/>
                </a:lnTo>
                <a:lnTo>
                  <a:pt x="312" y="1098"/>
                </a:lnTo>
                <a:lnTo>
                  <a:pt x="312" y="1104"/>
                </a:lnTo>
                <a:lnTo>
                  <a:pt x="312" y="1098"/>
                </a:lnTo>
                <a:lnTo>
                  <a:pt x="312" y="1092"/>
                </a:lnTo>
                <a:lnTo>
                  <a:pt x="312" y="1086"/>
                </a:lnTo>
                <a:lnTo>
                  <a:pt x="306" y="1086"/>
                </a:lnTo>
                <a:lnTo>
                  <a:pt x="306" y="1080"/>
                </a:lnTo>
                <a:lnTo>
                  <a:pt x="312" y="1080"/>
                </a:lnTo>
                <a:lnTo>
                  <a:pt x="312" y="1074"/>
                </a:lnTo>
                <a:lnTo>
                  <a:pt x="318" y="1074"/>
                </a:lnTo>
                <a:lnTo>
                  <a:pt x="318" y="1068"/>
                </a:lnTo>
                <a:lnTo>
                  <a:pt x="324" y="1068"/>
                </a:lnTo>
                <a:lnTo>
                  <a:pt x="324" y="1074"/>
                </a:lnTo>
                <a:lnTo>
                  <a:pt x="324" y="1068"/>
                </a:lnTo>
                <a:lnTo>
                  <a:pt x="324" y="1062"/>
                </a:lnTo>
                <a:lnTo>
                  <a:pt x="324" y="1068"/>
                </a:lnTo>
                <a:lnTo>
                  <a:pt x="324" y="1062"/>
                </a:lnTo>
                <a:lnTo>
                  <a:pt x="318" y="1062"/>
                </a:lnTo>
                <a:lnTo>
                  <a:pt x="324" y="1062"/>
                </a:lnTo>
                <a:lnTo>
                  <a:pt x="324" y="1056"/>
                </a:lnTo>
                <a:lnTo>
                  <a:pt x="318" y="1056"/>
                </a:lnTo>
                <a:lnTo>
                  <a:pt x="318" y="1050"/>
                </a:lnTo>
                <a:lnTo>
                  <a:pt x="312" y="1050"/>
                </a:lnTo>
                <a:lnTo>
                  <a:pt x="306" y="1050"/>
                </a:lnTo>
                <a:lnTo>
                  <a:pt x="306" y="1044"/>
                </a:lnTo>
                <a:lnTo>
                  <a:pt x="306" y="1050"/>
                </a:lnTo>
                <a:lnTo>
                  <a:pt x="300" y="1050"/>
                </a:lnTo>
                <a:lnTo>
                  <a:pt x="300" y="1044"/>
                </a:lnTo>
                <a:lnTo>
                  <a:pt x="306" y="1044"/>
                </a:lnTo>
                <a:lnTo>
                  <a:pt x="300" y="1044"/>
                </a:lnTo>
                <a:lnTo>
                  <a:pt x="300" y="1038"/>
                </a:lnTo>
                <a:lnTo>
                  <a:pt x="300" y="1032"/>
                </a:lnTo>
                <a:lnTo>
                  <a:pt x="300" y="1026"/>
                </a:lnTo>
                <a:lnTo>
                  <a:pt x="300" y="1020"/>
                </a:lnTo>
                <a:lnTo>
                  <a:pt x="294" y="1020"/>
                </a:lnTo>
                <a:lnTo>
                  <a:pt x="288" y="1020"/>
                </a:lnTo>
                <a:lnTo>
                  <a:pt x="282" y="1020"/>
                </a:lnTo>
                <a:lnTo>
                  <a:pt x="276" y="1020"/>
                </a:lnTo>
                <a:lnTo>
                  <a:pt x="270" y="1020"/>
                </a:lnTo>
                <a:lnTo>
                  <a:pt x="270" y="1026"/>
                </a:lnTo>
                <a:lnTo>
                  <a:pt x="264" y="1026"/>
                </a:lnTo>
                <a:lnTo>
                  <a:pt x="258" y="1026"/>
                </a:lnTo>
                <a:lnTo>
                  <a:pt x="252" y="1026"/>
                </a:lnTo>
                <a:lnTo>
                  <a:pt x="258" y="1026"/>
                </a:lnTo>
                <a:lnTo>
                  <a:pt x="258" y="1032"/>
                </a:lnTo>
                <a:lnTo>
                  <a:pt x="252" y="1032"/>
                </a:lnTo>
                <a:lnTo>
                  <a:pt x="246" y="1032"/>
                </a:lnTo>
                <a:lnTo>
                  <a:pt x="240" y="1032"/>
                </a:lnTo>
                <a:lnTo>
                  <a:pt x="234" y="1032"/>
                </a:lnTo>
                <a:lnTo>
                  <a:pt x="234" y="1038"/>
                </a:lnTo>
                <a:lnTo>
                  <a:pt x="228" y="1038"/>
                </a:lnTo>
                <a:lnTo>
                  <a:pt x="222" y="1038"/>
                </a:lnTo>
                <a:lnTo>
                  <a:pt x="216" y="1038"/>
                </a:lnTo>
                <a:lnTo>
                  <a:pt x="216" y="1032"/>
                </a:lnTo>
                <a:lnTo>
                  <a:pt x="216" y="1026"/>
                </a:lnTo>
                <a:lnTo>
                  <a:pt x="216" y="1020"/>
                </a:lnTo>
                <a:lnTo>
                  <a:pt x="216" y="1014"/>
                </a:lnTo>
                <a:lnTo>
                  <a:pt x="216" y="1008"/>
                </a:lnTo>
                <a:lnTo>
                  <a:pt x="210" y="1008"/>
                </a:lnTo>
                <a:lnTo>
                  <a:pt x="204" y="1008"/>
                </a:lnTo>
                <a:lnTo>
                  <a:pt x="204" y="1014"/>
                </a:lnTo>
                <a:lnTo>
                  <a:pt x="198" y="1014"/>
                </a:lnTo>
                <a:lnTo>
                  <a:pt x="198" y="1008"/>
                </a:lnTo>
                <a:lnTo>
                  <a:pt x="192" y="1008"/>
                </a:lnTo>
                <a:lnTo>
                  <a:pt x="192" y="1014"/>
                </a:lnTo>
                <a:lnTo>
                  <a:pt x="186" y="1014"/>
                </a:lnTo>
                <a:lnTo>
                  <a:pt x="186" y="1020"/>
                </a:lnTo>
                <a:lnTo>
                  <a:pt x="180" y="1020"/>
                </a:lnTo>
                <a:lnTo>
                  <a:pt x="174" y="1020"/>
                </a:lnTo>
                <a:lnTo>
                  <a:pt x="174" y="1014"/>
                </a:lnTo>
                <a:lnTo>
                  <a:pt x="180" y="1008"/>
                </a:lnTo>
                <a:lnTo>
                  <a:pt x="174" y="1008"/>
                </a:lnTo>
                <a:lnTo>
                  <a:pt x="168" y="1008"/>
                </a:lnTo>
                <a:lnTo>
                  <a:pt x="168" y="1002"/>
                </a:lnTo>
                <a:lnTo>
                  <a:pt x="162" y="1002"/>
                </a:lnTo>
                <a:lnTo>
                  <a:pt x="162" y="996"/>
                </a:lnTo>
                <a:lnTo>
                  <a:pt x="156" y="996"/>
                </a:lnTo>
                <a:lnTo>
                  <a:pt x="156" y="1002"/>
                </a:lnTo>
                <a:lnTo>
                  <a:pt x="150" y="996"/>
                </a:lnTo>
                <a:lnTo>
                  <a:pt x="150" y="990"/>
                </a:lnTo>
                <a:lnTo>
                  <a:pt x="150" y="984"/>
                </a:lnTo>
                <a:lnTo>
                  <a:pt x="144" y="984"/>
                </a:lnTo>
                <a:lnTo>
                  <a:pt x="138" y="984"/>
                </a:lnTo>
                <a:lnTo>
                  <a:pt x="132" y="984"/>
                </a:lnTo>
                <a:lnTo>
                  <a:pt x="126" y="990"/>
                </a:lnTo>
                <a:lnTo>
                  <a:pt x="120" y="990"/>
                </a:lnTo>
                <a:lnTo>
                  <a:pt x="120" y="984"/>
                </a:lnTo>
                <a:lnTo>
                  <a:pt x="114" y="984"/>
                </a:lnTo>
                <a:lnTo>
                  <a:pt x="114" y="990"/>
                </a:lnTo>
                <a:lnTo>
                  <a:pt x="108" y="990"/>
                </a:lnTo>
                <a:lnTo>
                  <a:pt x="108" y="996"/>
                </a:lnTo>
                <a:lnTo>
                  <a:pt x="114" y="996"/>
                </a:lnTo>
                <a:lnTo>
                  <a:pt x="108" y="996"/>
                </a:lnTo>
                <a:lnTo>
                  <a:pt x="108" y="1002"/>
                </a:lnTo>
                <a:lnTo>
                  <a:pt x="108" y="1008"/>
                </a:lnTo>
                <a:lnTo>
                  <a:pt x="102" y="1008"/>
                </a:lnTo>
                <a:lnTo>
                  <a:pt x="102" y="1002"/>
                </a:lnTo>
                <a:lnTo>
                  <a:pt x="96" y="1002"/>
                </a:lnTo>
                <a:lnTo>
                  <a:pt x="90" y="1002"/>
                </a:lnTo>
                <a:lnTo>
                  <a:pt x="90" y="996"/>
                </a:lnTo>
                <a:lnTo>
                  <a:pt x="84" y="996"/>
                </a:lnTo>
                <a:lnTo>
                  <a:pt x="84" y="990"/>
                </a:lnTo>
                <a:lnTo>
                  <a:pt x="78" y="990"/>
                </a:lnTo>
                <a:lnTo>
                  <a:pt x="78" y="984"/>
                </a:lnTo>
                <a:lnTo>
                  <a:pt x="84" y="984"/>
                </a:lnTo>
                <a:lnTo>
                  <a:pt x="84" y="978"/>
                </a:lnTo>
                <a:lnTo>
                  <a:pt x="84" y="972"/>
                </a:lnTo>
                <a:lnTo>
                  <a:pt x="78" y="972"/>
                </a:lnTo>
                <a:lnTo>
                  <a:pt x="78" y="966"/>
                </a:lnTo>
                <a:lnTo>
                  <a:pt x="78" y="960"/>
                </a:lnTo>
                <a:lnTo>
                  <a:pt x="78" y="954"/>
                </a:lnTo>
                <a:lnTo>
                  <a:pt x="72" y="960"/>
                </a:lnTo>
                <a:lnTo>
                  <a:pt x="66" y="954"/>
                </a:lnTo>
                <a:lnTo>
                  <a:pt x="72" y="954"/>
                </a:lnTo>
                <a:lnTo>
                  <a:pt x="72" y="948"/>
                </a:lnTo>
                <a:lnTo>
                  <a:pt x="72" y="942"/>
                </a:lnTo>
                <a:lnTo>
                  <a:pt x="66" y="942"/>
                </a:lnTo>
                <a:lnTo>
                  <a:pt x="66" y="936"/>
                </a:lnTo>
                <a:lnTo>
                  <a:pt x="66" y="930"/>
                </a:lnTo>
                <a:lnTo>
                  <a:pt x="60" y="930"/>
                </a:lnTo>
                <a:lnTo>
                  <a:pt x="54" y="924"/>
                </a:lnTo>
                <a:lnTo>
                  <a:pt x="54" y="918"/>
                </a:lnTo>
                <a:lnTo>
                  <a:pt x="48" y="918"/>
                </a:lnTo>
                <a:lnTo>
                  <a:pt x="48" y="912"/>
                </a:lnTo>
                <a:lnTo>
                  <a:pt x="54" y="912"/>
                </a:lnTo>
                <a:lnTo>
                  <a:pt x="54" y="906"/>
                </a:lnTo>
                <a:lnTo>
                  <a:pt x="60" y="906"/>
                </a:lnTo>
                <a:lnTo>
                  <a:pt x="60" y="900"/>
                </a:lnTo>
                <a:lnTo>
                  <a:pt x="60" y="894"/>
                </a:lnTo>
                <a:lnTo>
                  <a:pt x="54" y="894"/>
                </a:lnTo>
                <a:lnTo>
                  <a:pt x="54" y="888"/>
                </a:lnTo>
                <a:lnTo>
                  <a:pt x="48" y="888"/>
                </a:lnTo>
                <a:lnTo>
                  <a:pt x="48" y="894"/>
                </a:lnTo>
                <a:lnTo>
                  <a:pt x="48" y="888"/>
                </a:lnTo>
                <a:lnTo>
                  <a:pt x="48" y="876"/>
                </a:lnTo>
                <a:lnTo>
                  <a:pt x="48" y="870"/>
                </a:lnTo>
                <a:lnTo>
                  <a:pt x="42" y="870"/>
                </a:lnTo>
                <a:lnTo>
                  <a:pt x="36" y="870"/>
                </a:lnTo>
                <a:lnTo>
                  <a:pt x="36" y="864"/>
                </a:lnTo>
                <a:lnTo>
                  <a:pt x="30" y="864"/>
                </a:lnTo>
                <a:lnTo>
                  <a:pt x="24" y="864"/>
                </a:lnTo>
                <a:lnTo>
                  <a:pt x="18" y="864"/>
                </a:lnTo>
                <a:lnTo>
                  <a:pt x="12" y="864"/>
                </a:lnTo>
                <a:lnTo>
                  <a:pt x="6" y="858"/>
                </a:lnTo>
                <a:lnTo>
                  <a:pt x="12" y="858"/>
                </a:lnTo>
                <a:lnTo>
                  <a:pt x="12" y="852"/>
                </a:lnTo>
                <a:lnTo>
                  <a:pt x="6" y="852"/>
                </a:lnTo>
                <a:lnTo>
                  <a:pt x="6" y="846"/>
                </a:lnTo>
                <a:lnTo>
                  <a:pt x="12" y="840"/>
                </a:lnTo>
                <a:lnTo>
                  <a:pt x="12" y="834"/>
                </a:lnTo>
                <a:lnTo>
                  <a:pt x="18" y="834"/>
                </a:lnTo>
                <a:lnTo>
                  <a:pt x="24" y="828"/>
                </a:lnTo>
                <a:lnTo>
                  <a:pt x="24" y="822"/>
                </a:lnTo>
                <a:lnTo>
                  <a:pt x="24" y="816"/>
                </a:lnTo>
                <a:lnTo>
                  <a:pt x="30" y="816"/>
                </a:lnTo>
                <a:lnTo>
                  <a:pt x="36" y="816"/>
                </a:lnTo>
                <a:lnTo>
                  <a:pt x="42" y="816"/>
                </a:lnTo>
                <a:lnTo>
                  <a:pt x="42" y="810"/>
                </a:lnTo>
                <a:lnTo>
                  <a:pt x="42" y="804"/>
                </a:lnTo>
                <a:lnTo>
                  <a:pt x="42" y="798"/>
                </a:lnTo>
                <a:lnTo>
                  <a:pt x="42" y="792"/>
                </a:lnTo>
                <a:lnTo>
                  <a:pt x="48" y="792"/>
                </a:lnTo>
                <a:lnTo>
                  <a:pt x="48" y="786"/>
                </a:lnTo>
                <a:lnTo>
                  <a:pt x="42" y="786"/>
                </a:lnTo>
                <a:lnTo>
                  <a:pt x="42" y="780"/>
                </a:lnTo>
                <a:lnTo>
                  <a:pt x="42" y="774"/>
                </a:lnTo>
                <a:lnTo>
                  <a:pt x="36" y="774"/>
                </a:lnTo>
                <a:lnTo>
                  <a:pt x="42" y="768"/>
                </a:lnTo>
                <a:lnTo>
                  <a:pt x="42" y="762"/>
                </a:lnTo>
                <a:lnTo>
                  <a:pt x="48" y="762"/>
                </a:lnTo>
                <a:lnTo>
                  <a:pt x="48" y="756"/>
                </a:lnTo>
                <a:lnTo>
                  <a:pt x="54" y="750"/>
                </a:lnTo>
                <a:lnTo>
                  <a:pt x="60" y="744"/>
                </a:lnTo>
                <a:lnTo>
                  <a:pt x="60" y="738"/>
                </a:lnTo>
                <a:lnTo>
                  <a:pt x="66" y="738"/>
                </a:lnTo>
                <a:lnTo>
                  <a:pt x="66" y="732"/>
                </a:lnTo>
                <a:lnTo>
                  <a:pt x="72" y="732"/>
                </a:lnTo>
                <a:lnTo>
                  <a:pt x="72" y="726"/>
                </a:lnTo>
                <a:lnTo>
                  <a:pt x="72" y="720"/>
                </a:lnTo>
                <a:lnTo>
                  <a:pt x="72" y="714"/>
                </a:lnTo>
                <a:lnTo>
                  <a:pt x="72" y="708"/>
                </a:lnTo>
                <a:lnTo>
                  <a:pt x="66" y="708"/>
                </a:lnTo>
                <a:lnTo>
                  <a:pt x="66" y="702"/>
                </a:lnTo>
                <a:lnTo>
                  <a:pt x="72" y="696"/>
                </a:lnTo>
                <a:lnTo>
                  <a:pt x="72" y="690"/>
                </a:lnTo>
                <a:lnTo>
                  <a:pt x="72" y="684"/>
                </a:lnTo>
                <a:lnTo>
                  <a:pt x="72" y="678"/>
                </a:lnTo>
                <a:lnTo>
                  <a:pt x="78" y="672"/>
                </a:lnTo>
                <a:lnTo>
                  <a:pt x="90" y="666"/>
                </a:lnTo>
                <a:lnTo>
                  <a:pt x="96" y="672"/>
                </a:lnTo>
                <a:lnTo>
                  <a:pt x="96" y="666"/>
                </a:lnTo>
                <a:lnTo>
                  <a:pt x="102" y="666"/>
                </a:lnTo>
                <a:lnTo>
                  <a:pt x="102" y="672"/>
                </a:lnTo>
                <a:lnTo>
                  <a:pt x="108" y="672"/>
                </a:lnTo>
                <a:lnTo>
                  <a:pt x="114" y="672"/>
                </a:lnTo>
                <a:lnTo>
                  <a:pt x="120" y="672"/>
                </a:lnTo>
                <a:lnTo>
                  <a:pt x="126" y="672"/>
                </a:lnTo>
                <a:lnTo>
                  <a:pt x="132" y="678"/>
                </a:lnTo>
                <a:lnTo>
                  <a:pt x="138" y="678"/>
                </a:lnTo>
                <a:lnTo>
                  <a:pt x="138" y="684"/>
                </a:lnTo>
                <a:lnTo>
                  <a:pt x="144" y="684"/>
                </a:lnTo>
                <a:lnTo>
                  <a:pt x="144" y="690"/>
                </a:lnTo>
                <a:lnTo>
                  <a:pt x="150" y="690"/>
                </a:lnTo>
                <a:lnTo>
                  <a:pt x="156" y="690"/>
                </a:lnTo>
                <a:lnTo>
                  <a:pt x="150" y="684"/>
                </a:lnTo>
                <a:lnTo>
                  <a:pt x="150" y="678"/>
                </a:lnTo>
                <a:lnTo>
                  <a:pt x="156" y="666"/>
                </a:lnTo>
                <a:lnTo>
                  <a:pt x="150" y="660"/>
                </a:lnTo>
                <a:lnTo>
                  <a:pt x="150" y="654"/>
                </a:lnTo>
                <a:lnTo>
                  <a:pt x="150" y="648"/>
                </a:lnTo>
                <a:lnTo>
                  <a:pt x="156" y="648"/>
                </a:lnTo>
                <a:lnTo>
                  <a:pt x="156" y="642"/>
                </a:lnTo>
                <a:lnTo>
                  <a:pt x="162" y="642"/>
                </a:lnTo>
                <a:lnTo>
                  <a:pt x="162" y="636"/>
                </a:lnTo>
                <a:lnTo>
                  <a:pt x="162" y="630"/>
                </a:lnTo>
                <a:lnTo>
                  <a:pt x="162" y="624"/>
                </a:lnTo>
                <a:lnTo>
                  <a:pt x="168" y="624"/>
                </a:lnTo>
                <a:lnTo>
                  <a:pt x="168" y="618"/>
                </a:lnTo>
                <a:lnTo>
                  <a:pt x="168" y="612"/>
                </a:lnTo>
                <a:lnTo>
                  <a:pt x="168" y="606"/>
                </a:lnTo>
                <a:lnTo>
                  <a:pt x="174" y="606"/>
                </a:lnTo>
                <a:lnTo>
                  <a:pt x="168" y="600"/>
                </a:lnTo>
                <a:lnTo>
                  <a:pt x="174" y="600"/>
                </a:lnTo>
                <a:lnTo>
                  <a:pt x="174" y="594"/>
                </a:lnTo>
                <a:lnTo>
                  <a:pt x="174" y="582"/>
                </a:lnTo>
                <a:lnTo>
                  <a:pt x="174" y="576"/>
                </a:lnTo>
                <a:lnTo>
                  <a:pt x="174" y="570"/>
                </a:lnTo>
                <a:lnTo>
                  <a:pt x="180" y="570"/>
                </a:lnTo>
                <a:lnTo>
                  <a:pt x="180" y="564"/>
                </a:lnTo>
                <a:lnTo>
                  <a:pt x="186" y="564"/>
                </a:lnTo>
                <a:lnTo>
                  <a:pt x="186" y="558"/>
                </a:lnTo>
                <a:lnTo>
                  <a:pt x="180" y="558"/>
                </a:lnTo>
                <a:lnTo>
                  <a:pt x="174" y="558"/>
                </a:lnTo>
                <a:lnTo>
                  <a:pt x="168" y="558"/>
                </a:lnTo>
                <a:lnTo>
                  <a:pt x="162" y="558"/>
                </a:lnTo>
                <a:lnTo>
                  <a:pt x="156" y="558"/>
                </a:lnTo>
                <a:lnTo>
                  <a:pt x="150" y="558"/>
                </a:lnTo>
                <a:lnTo>
                  <a:pt x="144" y="558"/>
                </a:lnTo>
                <a:lnTo>
                  <a:pt x="138" y="558"/>
                </a:lnTo>
                <a:lnTo>
                  <a:pt x="132" y="564"/>
                </a:lnTo>
                <a:lnTo>
                  <a:pt x="126" y="564"/>
                </a:lnTo>
                <a:lnTo>
                  <a:pt x="120" y="564"/>
                </a:lnTo>
                <a:lnTo>
                  <a:pt x="120" y="570"/>
                </a:lnTo>
                <a:lnTo>
                  <a:pt x="120" y="576"/>
                </a:lnTo>
                <a:lnTo>
                  <a:pt x="114" y="576"/>
                </a:lnTo>
                <a:lnTo>
                  <a:pt x="108" y="576"/>
                </a:lnTo>
                <a:lnTo>
                  <a:pt x="108" y="582"/>
                </a:lnTo>
                <a:lnTo>
                  <a:pt x="108" y="576"/>
                </a:lnTo>
                <a:lnTo>
                  <a:pt x="102" y="576"/>
                </a:lnTo>
                <a:lnTo>
                  <a:pt x="96" y="576"/>
                </a:lnTo>
                <a:lnTo>
                  <a:pt x="90" y="576"/>
                </a:lnTo>
                <a:lnTo>
                  <a:pt x="84" y="576"/>
                </a:lnTo>
                <a:lnTo>
                  <a:pt x="84" y="570"/>
                </a:lnTo>
                <a:lnTo>
                  <a:pt x="84" y="564"/>
                </a:lnTo>
                <a:lnTo>
                  <a:pt x="84" y="558"/>
                </a:lnTo>
                <a:lnTo>
                  <a:pt x="84" y="552"/>
                </a:lnTo>
                <a:lnTo>
                  <a:pt x="84" y="546"/>
                </a:lnTo>
                <a:lnTo>
                  <a:pt x="84" y="540"/>
                </a:lnTo>
                <a:lnTo>
                  <a:pt x="84" y="534"/>
                </a:lnTo>
                <a:lnTo>
                  <a:pt x="90" y="528"/>
                </a:lnTo>
                <a:lnTo>
                  <a:pt x="96" y="528"/>
                </a:lnTo>
                <a:lnTo>
                  <a:pt x="96" y="522"/>
                </a:lnTo>
                <a:lnTo>
                  <a:pt x="90" y="522"/>
                </a:lnTo>
                <a:lnTo>
                  <a:pt x="84" y="522"/>
                </a:lnTo>
                <a:lnTo>
                  <a:pt x="78" y="522"/>
                </a:lnTo>
                <a:lnTo>
                  <a:pt x="72" y="522"/>
                </a:lnTo>
                <a:lnTo>
                  <a:pt x="66" y="516"/>
                </a:lnTo>
                <a:lnTo>
                  <a:pt x="60" y="516"/>
                </a:lnTo>
                <a:lnTo>
                  <a:pt x="66" y="516"/>
                </a:lnTo>
                <a:lnTo>
                  <a:pt x="60" y="516"/>
                </a:lnTo>
                <a:lnTo>
                  <a:pt x="60" y="510"/>
                </a:lnTo>
                <a:lnTo>
                  <a:pt x="54" y="510"/>
                </a:lnTo>
                <a:lnTo>
                  <a:pt x="48" y="510"/>
                </a:lnTo>
                <a:lnTo>
                  <a:pt x="42" y="510"/>
                </a:lnTo>
                <a:lnTo>
                  <a:pt x="42" y="516"/>
                </a:lnTo>
                <a:lnTo>
                  <a:pt x="36" y="516"/>
                </a:lnTo>
                <a:lnTo>
                  <a:pt x="36" y="522"/>
                </a:lnTo>
                <a:lnTo>
                  <a:pt x="36" y="516"/>
                </a:lnTo>
                <a:lnTo>
                  <a:pt x="30" y="516"/>
                </a:lnTo>
                <a:lnTo>
                  <a:pt x="30" y="510"/>
                </a:lnTo>
                <a:lnTo>
                  <a:pt x="36" y="510"/>
                </a:lnTo>
                <a:lnTo>
                  <a:pt x="30" y="510"/>
                </a:lnTo>
                <a:lnTo>
                  <a:pt x="30" y="504"/>
                </a:lnTo>
                <a:lnTo>
                  <a:pt x="30" y="498"/>
                </a:lnTo>
                <a:lnTo>
                  <a:pt x="36" y="498"/>
                </a:lnTo>
                <a:lnTo>
                  <a:pt x="36" y="492"/>
                </a:lnTo>
                <a:lnTo>
                  <a:pt x="30" y="492"/>
                </a:lnTo>
                <a:lnTo>
                  <a:pt x="30" y="486"/>
                </a:lnTo>
                <a:lnTo>
                  <a:pt x="30" y="492"/>
                </a:lnTo>
                <a:lnTo>
                  <a:pt x="24" y="492"/>
                </a:lnTo>
                <a:lnTo>
                  <a:pt x="24" y="486"/>
                </a:lnTo>
                <a:lnTo>
                  <a:pt x="18" y="486"/>
                </a:lnTo>
                <a:lnTo>
                  <a:pt x="12" y="480"/>
                </a:lnTo>
                <a:lnTo>
                  <a:pt x="6" y="480"/>
                </a:lnTo>
                <a:lnTo>
                  <a:pt x="6" y="474"/>
                </a:lnTo>
                <a:lnTo>
                  <a:pt x="12" y="474"/>
                </a:lnTo>
                <a:lnTo>
                  <a:pt x="12" y="468"/>
                </a:lnTo>
                <a:lnTo>
                  <a:pt x="18" y="468"/>
                </a:lnTo>
                <a:lnTo>
                  <a:pt x="18" y="462"/>
                </a:lnTo>
                <a:lnTo>
                  <a:pt x="12" y="462"/>
                </a:lnTo>
                <a:lnTo>
                  <a:pt x="12" y="456"/>
                </a:lnTo>
                <a:lnTo>
                  <a:pt x="6" y="444"/>
                </a:lnTo>
                <a:lnTo>
                  <a:pt x="0" y="444"/>
                </a:lnTo>
                <a:lnTo>
                  <a:pt x="0" y="438"/>
                </a:lnTo>
                <a:lnTo>
                  <a:pt x="6" y="438"/>
                </a:lnTo>
                <a:lnTo>
                  <a:pt x="6" y="432"/>
                </a:lnTo>
                <a:lnTo>
                  <a:pt x="6" y="426"/>
                </a:lnTo>
                <a:lnTo>
                  <a:pt x="12" y="426"/>
                </a:lnTo>
                <a:lnTo>
                  <a:pt x="12" y="420"/>
                </a:lnTo>
                <a:lnTo>
                  <a:pt x="12" y="414"/>
                </a:lnTo>
                <a:lnTo>
                  <a:pt x="12" y="408"/>
                </a:lnTo>
                <a:lnTo>
                  <a:pt x="6" y="408"/>
                </a:lnTo>
                <a:lnTo>
                  <a:pt x="6" y="402"/>
                </a:lnTo>
                <a:lnTo>
                  <a:pt x="6" y="396"/>
                </a:lnTo>
                <a:lnTo>
                  <a:pt x="12" y="396"/>
                </a:lnTo>
                <a:lnTo>
                  <a:pt x="12" y="390"/>
                </a:lnTo>
                <a:lnTo>
                  <a:pt x="18" y="390"/>
                </a:lnTo>
                <a:lnTo>
                  <a:pt x="18" y="384"/>
                </a:lnTo>
                <a:lnTo>
                  <a:pt x="24" y="384"/>
                </a:lnTo>
                <a:lnTo>
                  <a:pt x="30" y="384"/>
                </a:lnTo>
                <a:lnTo>
                  <a:pt x="30" y="378"/>
                </a:lnTo>
                <a:lnTo>
                  <a:pt x="36" y="378"/>
                </a:lnTo>
                <a:lnTo>
                  <a:pt x="42" y="372"/>
                </a:lnTo>
                <a:lnTo>
                  <a:pt x="42" y="366"/>
                </a:lnTo>
                <a:lnTo>
                  <a:pt x="36" y="366"/>
                </a:lnTo>
                <a:lnTo>
                  <a:pt x="36" y="360"/>
                </a:lnTo>
                <a:lnTo>
                  <a:pt x="30" y="354"/>
                </a:lnTo>
                <a:lnTo>
                  <a:pt x="36" y="354"/>
                </a:lnTo>
                <a:lnTo>
                  <a:pt x="30" y="348"/>
                </a:lnTo>
                <a:lnTo>
                  <a:pt x="30" y="342"/>
                </a:lnTo>
                <a:lnTo>
                  <a:pt x="24" y="342"/>
                </a:lnTo>
                <a:lnTo>
                  <a:pt x="24" y="336"/>
                </a:lnTo>
                <a:lnTo>
                  <a:pt x="18" y="336"/>
                </a:lnTo>
                <a:lnTo>
                  <a:pt x="18" y="330"/>
                </a:lnTo>
                <a:lnTo>
                  <a:pt x="12" y="330"/>
                </a:lnTo>
                <a:lnTo>
                  <a:pt x="12" y="324"/>
                </a:lnTo>
                <a:lnTo>
                  <a:pt x="6" y="324"/>
                </a:lnTo>
                <a:lnTo>
                  <a:pt x="0" y="324"/>
                </a:lnTo>
                <a:lnTo>
                  <a:pt x="0" y="318"/>
                </a:lnTo>
                <a:lnTo>
                  <a:pt x="6" y="312"/>
                </a:lnTo>
                <a:lnTo>
                  <a:pt x="6" y="318"/>
                </a:lnTo>
                <a:lnTo>
                  <a:pt x="12" y="318"/>
                </a:lnTo>
                <a:lnTo>
                  <a:pt x="12" y="312"/>
                </a:lnTo>
                <a:lnTo>
                  <a:pt x="18" y="312"/>
                </a:lnTo>
                <a:lnTo>
                  <a:pt x="24" y="312"/>
                </a:lnTo>
                <a:lnTo>
                  <a:pt x="30" y="312"/>
                </a:lnTo>
                <a:lnTo>
                  <a:pt x="36" y="312"/>
                </a:lnTo>
                <a:lnTo>
                  <a:pt x="42" y="312"/>
                </a:lnTo>
                <a:lnTo>
                  <a:pt x="48" y="312"/>
                </a:lnTo>
                <a:lnTo>
                  <a:pt x="48" y="318"/>
                </a:lnTo>
                <a:lnTo>
                  <a:pt x="54" y="318"/>
                </a:lnTo>
                <a:lnTo>
                  <a:pt x="60" y="318"/>
                </a:lnTo>
                <a:lnTo>
                  <a:pt x="60" y="312"/>
                </a:lnTo>
                <a:lnTo>
                  <a:pt x="66" y="306"/>
                </a:lnTo>
                <a:lnTo>
                  <a:pt x="66" y="300"/>
                </a:lnTo>
                <a:lnTo>
                  <a:pt x="66" y="306"/>
                </a:lnTo>
                <a:lnTo>
                  <a:pt x="66" y="312"/>
                </a:lnTo>
                <a:lnTo>
                  <a:pt x="60" y="312"/>
                </a:lnTo>
                <a:lnTo>
                  <a:pt x="60" y="318"/>
                </a:lnTo>
                <a:lnTo>
                  <a:pt x="60" y="324"/>
                </a:lnTo>
                <a:lnTo>
                  <a:pt x="60" y="330"/>
                </a:lnTo>
                <a:lnTo>
                  <a:pt x="60" y="336"/>
                </a:lnTo>
                <a:lnTo>
                  <a:pt x="54" y="342"/>
                </a:lnTo>
                <a:lnTo>
                  <a:pt x="54" y="348"/>
                </a:lnTo>
                <a:lnTo>
                  <a:pt x="54" y="354"/>
                </a:lnTo>
                <a:lnTo>
                  <a:pt x="54" y="348"/>
                </a:lnTo>
                <a:lnTo>
                  <a:pt x="54" y="342"/>
                </a:lnTo>
                <a:lnTo>
                  <a:pt x="60" y="336"/>
                </a:lnTo>
                <a:lnTo>
                  <a:pt x="60" y="330"/>
                </a:lnTo>
                <a:lnTo>
                  <a:pt x="60" y="336"/>
                </a:lnTo>
                <a:lnTo>
                  <a:pt x="60" y="330"/>
                </a:lnTo>
                <a:lnTo>
                  <a:pt x="60" y="336"/>
                </a:lnTo>
                <a:lnTo>
                  <a:pt x="60" y="342"/>
                </a:lnTo>
                <a:lnTo>
                  <a:pt x="54" y="342"/>
                </a:lnTo>
                <a:lnTo>
                  <a:pt x="54" y="348"/>
                </a:lnTo>
                <a:lnTo>
                  <a:pt x="54" y="354"/>
                </a:lnTo>
                <a:lnTo>
                  <a:pt x="60" y="354"/>
                </a:lnTo>
                <a:lnTo>
                  <a:pt x="60" y="348"/>
                </a:lnTo>
                <a:lnTo>
                  <a:pt x="66" y="348"/>
                </a:lnTo>
                <a:lnTo>
                  <a:pt x="66" y="342"/>
                </a:lnTo>
                <a:lnTo>
                  <a:pt x="66" y="336"/>
                </a:lnTo>
                <a:lnTo>
                  <a:pt x="66" y="330"/>
                </a:lnTo>
                <a:lnTo>
                  <a:pt x="66" y="324"/>
                </a:lnTo>
                <a:lnTo>
                  <a:pt x="66" y="318"/>
                </a:lnTo>
                <a:lnTo>
                  <a:pt x="72" y="318"/>
                </a:lnTo>
                <a:lnTo>
                  <a:pt x="72" y="312"/>
                </a:lnTo>
                <a:lnTo>
                  <a:pt x="72" y="306"/>
                </a:lnTo>
                <a:lnTo>
                  <a:pt x="78" y="306"/>
                </a:lnTo>
                <a:lnTo>
                  <a:pt x="78" y="300"/>
                </a:lnTo>
                <a:lnTo>
                  <a:pt x="84" y="294"/>
                </a:lnTo>
                <a:lnTo>
                  <a:pt x="90" y="288"/>
                </a:lnTo>
                <a:lnTo>
                  <a:pt x="96" y="288"/>
                </a:lnTo>
                <a:lnTo>
                  <a:pt x="96" y="282"/>
                </a:lnTo>
                <a:lnTo>
                  <a:pt x="96" y="276"/>
                </a:lnTo>
                <a:lnTo>
                  <a:pt x="102" y="276"/>
                </a:lnTo>
                <a:lnTo>
                  <a:pt x="102" y="270"/>
                </a:lnTo>
                <a:lnTo>
                  <a:pt x="108" y="270"/>
                </a:lnTo>
                <a:lnTo>
                  <a:pt x="108" y="264"/>
                </a:lnTo>
                <a:lnTo>
                  <a:pt x="114" y="264"/>
                </a:lnTo>
                <a:lnTo>
                  <a:pt x="114" y="258"/>
                </a:lnTo>
                <a:lnTo>
                  <a:pt x="120" y="258"/>
                </a:lnTo>
                <a:lnTo>
                  <a:pt x="126" y="258"/>
                </a:lnTo>
                <a:lnTo>
                  <a:pt x="126" y="252"/>
                </a:lnTo>
                <a:lnTo>
                  <a:pt x="132" y="252"/>
                </a:lnTo>
                <a:lnTo>
                  <a:pt x="132" y="246"/>
                </a:lnTo>
                <a:lnTo>
                  <a:pt x="138" y="246"/>
                </a:lnTo>
                <a:lnTo>
                  <a:pt x="144" y="246"/>
                </a:lnTo>
                <a:lnTo>
                  <a:pt x="150" y="246"/>
                </a:lnTo>
                <a:lnTo>
                  <a:pt x="156" y="246"/>
                </a:lnTo>
                <a:lnTo>
                  <a:pt x="162" y="246"/>
                </a:lnTo>
                <a:lnTo>
                  <a:pt x="162" y="240"/>
                </a:lnTo>
                <a:lnTo>
                  <a:pt x="168" y="240"/>
                </a:lnTo>
                <a:lnTo>
                  <a:pt x="174" y="234"/>
                </a:lnTo>
                <a:lnTo>
                  <a:pt x="180" y="228"/>
                </a:lnTo>
                <a:lnTo>
                  <a:pt x="180" y="222"/>
                </a:lnTo>
                <a:lnTo>
                  <a:pt x="186" y="222"/>
                </a:lnTo>
                <a:lnTo>
                  <a:pt x="186" y="216"/>
                </a:lnTo>
                <a:lnTo>
                  <a:pt x="186" y="210"/>
                </a:lnTo>
                <a:lnTo>
                  <a:pt x="192" y="210"/>
                </a:lnTo>
                <a:lnTo>
                  <a:pt x="192" y="204"/>
                </a:lnTo>
                <a:lnTo>
                  <a:pt x="192" y="198"/>
                </a:lnTo>
                <a:lnTo>
                  <a:pt x="198" y="198"/>
                </a:lnTo>
                <a:lnTo>
                  <a:pt x="198" y="192"/>
                </a:lnTo>
                <a:lnTo>
                  <a:pt x="198" y="186"/>
                </a:lnTo>
                <a:lnTo>
                  <a:pt x="204" y="186"/>
                </a:lnTo>
                <a:lnTo>
                  <a:pt x="204" y="180"/>
                </a:lnTo>
                <a:lnTo>
                  <a:pt x="204" y="174"/>
                </a:lnTo>
                <a:lnTo>
                  <a:pt x="210" y="174"/>
                </a:lnTo>
                <a:lnTo>
                  <a:pt x="204" y="168"/>
                </a:lnTo>
                <a:lnTo>
                  <a:pt x="204" y="162"/>
                </a:lnTo>
                <a:lnTo>
                  <a:pt x="210" y="162"/>
                </a:lnTo>
                <a:lnTo>
                  <a:pt x="216" y="162"/>
                </a:lnTo>
                <a:lnTo>
                  <a:pt x="222" y="162"/>
                </a:lnTo>
                <a:lnTo>
                  <a:pt x="228" y="162"/>
                </a:lnTo>
                <a:lnTo>
                  <a:pt x="228" y="156"/>
                </a:lnTo>
                <a:lnTo>
                  <a:pt x="228" y="150"/>
                </a:lnTo>
                <a:lnTo>
                  <a:pt x="234" y="150"/>
                </a:lnTo>
                <a:lnTo>
                  <a:pt x="240" y="156"/>
                </a:lnTo>
                <a:lnTo>
                  <a:pt x="264" y="156"/>
                </a:lnTo>
                <a:lnTo>
                  <a:pt x="270" y="156"/>
                </a:lnTo>
                <a:lnTo>
                  <a:pt x="288" y="156"/>
                </a:lnTo>
                <a:lnTo>
                  <a:pt x="294" y="156"/>
                </a:lnTo>
                <a:lnTo>
                  <a:pt x="318" y="156"/>
                </a:lnTo>
                <a:lnTo>
                  <a:pt x="336" y="156"/>
                </a:lnTo>
                <a:lnTo>
                  <a:pt x="342" y="156"/>
                </a:lnTo>
                <a:lnTo>
                  <a:pt x="366" y="156"/>
                </a:lnTo>
                <a:lnTo>
                  <a:pt x="372" y="156"/>
                </a:lnTo>
                <a:lnTo>
                  <a:pt x="384" y="156"/>
                </a:lnTo>
                <a:lnTo>
                  <a:pt x="396" y="156"/>
                </a:lnTo>
                <a:lnTo>
                  <a:pt x="414" y="156"/>
                </a:lnTo>
                <a:lnTo>
                  <a:pt x="426" y="156"/>
                </a:lnTo>
                <a:lnTo>
                  <a:pt x="438" y="150"/>
                </a:lnTo>
                <a:lnTo>
                  <a:pt x="456" y="150"/>
                </a:lnTo>
                <a:lnTo>
                  <a:pt x="468" y="156"/>
                </a:lnTo>
                <a:lnTo>
                  <a:pt x="474" y="156"/>
                </a:lnTo>
                <a:lnTo>
                  <a:pt x="492" y="156"/>
                </a:lnTo>
                <a:lnTo>
                  <a:pt x="510" y="156"/>
                </a:lnTo>
                <a:lnTo>
                  <a:pt x="522" y="156"/>
                </a:lnTo>
                <a:lnTo>
                  <a:pt x="534" y="156"/>
                </a:lnTo>
                <a:lnTo>
                  <a:pt x="540" y="156"/>
                </a:lnTo>
                <a:lnTo>
                  <a:pt x="558" y="156"/>
                </a:lnTo>
                <a:lnTo>
                  <a:pt x="570" y="156"/>
                </a:lnTo>
                <a:lnTo>
                  <a:pt x="588" y="156"/>
                </a:lnTo>
                <a:lnTo>
                  <a:pt x="594" y="156"/>
                </a:lnTo>
                <a:lnTo>
                  <a:pt x="600" y="156"/>
                </a:lnTo>
                <a:lnTo>
                  <a:pt x="606" y="156"/>
                </a:lnTo>
                <a:lnTo>
                  <a:pt x="612" y="162"/>
                </a:lnTo>
                <a:lnTo>
                  <a:pt x="618" y="156"/>
                </a:lnTo>
                <a:lnTo>
                  <a:pt x="624" y="156"/>
                </a:lnTo>
                <a:lnTo>
                  <a:pt x="630" y="156"/>
                </a:lnTo>
                <a:lnTo>
                  <a:pt x="666" y="150"/>
                </a:lnTo>
                <a:lnTo>
                  <a:pt x="678" y="150"/>
                </a:lnTo>
                <a:lnTo>
                  <a:pt x="690" y="150"/>
                </a:lnTo>
                <a:lnTo>
                  <a:pt x="696" y="150"/>
                </a:lnTo>
                <a:lnTo>
                  <a:pt x="702" y="150"/>
                </a:lnTo>
                <a:lnTo>
                  <a:pt x="714" y="150"/>
                </a:lnTo>
                <a:lnTo>
                  <a:pt x="732" y="150"/>
                </a:lnTo>
                <a:lnTo>
                  <a:pt x="768" y="150"/>
                </a:lnTo>
                <a:lnTo>
                  <a:pt x="786" y="144"/>
                </a:lnTo>
                <a:lnTo>
                  <a:pt x="792" y="144"/>
                </a:lnTo>
                <a:lnTo>
                  <a:pt x="804" y="144"/>
                </a:lnTo>
                <a:lnTo>
                  <a:pt x="828" y="144"/>
                </a:lnTo>
                <a:lnTo>
                  <a:pt x="846" y="144"/>
                </a:lnTo>
                <a:lnTo>
                  <a:pt x="858" y="144"/>
                </a:lnTo>
                <a:lnTo>
                  <a:pt x="882" y="144"/>
                </a:lnTo>
                <a:lnTo>
                  <a:pt x="888" y="144"/>
                </a:lnTo>
                <a:lnTo>
                  <a:pt x="900" y="144"/>
                </a:lnTo>
                <a:lnTo>
                  <a:pt x="918" y="144"/>
                </a:lnTo>
                <a:lnTo>
                  <a:pt x="924" y="144"/>
                </a:lnTo>
                <a:lnTo>
                  <a:pt x="936" y="138"/>
                </a:lnTo>
                <a:lnTo>
                  <a:pt x="966" y="138"/>
                </a:lnTo>
                <a:lnTo>
                  <a:pt x="978" y="138"/>
                </a:lnTo>
                <a:lnTo>
                  <a:pt x="984" y="138"/>
                </a:lnTo>
                <a:lnTo>
                  <a:pt x="990" y="138"/>
                </a:lnTo>
                <a:lnTo>
                  <a:pt x="996" y="138"/>
                </a:lnTo>
                <a:lnTo>
                  <a:pt x="1002" y="138"/>
                </a:lnTo>
                <a:lnTo>
                  <a:pt x="1014" y="132"/>
                </a:lnTo>
                <a:lnTo>
                  <a:pt x="1020" y="132"/>
                </a:lnTo>
                <a:lnTo>
                  <a:pt x="1032" y="126"/>
                </a:lnTo>
                <a:lnTo>
                  <a:pt x="1038" y="126"/>
                </a:lnTo>
                <a:lnTo>
                  <a:pt x="1056" y="120"/>
                </a:lnTo>
                <a:lnTo>
                  <a:pt x="1062" y="120"/>
                </a:lnTo>
                <a:lnTo>
                  <a:pt x="1074" y="120"/>
                </a:lnTo>
                <a:lnTo>
                  <a:pt x="1086" y="120"/>
                </a:lnTo>
                <a:lnTo>
                  <a:pt x="1110" y="114"/>
                </a:lnTo>
                <a:lnTo>
                  <a:pt x="1122" y="114"/>
                </a:lnTo>
                <a:lnTo>
                  <a:pt x="1134" y="108"/>
                </a:lnTo>
                <a:lnTo>
                  <a:pt x="1158" y="102"/>
                </a:lnTo>
                <a:lnTo>
                  <a:pt x="1176" y="102"/>
                </a:lnTo>
                <a:lnTo>
                  <a:pt x="1188" y="96"/>
                </a:lnTo>
                <a:lnTo>
                  <a:pt x="1212" y="96"/>
                </a:lnTo>
                <a:lnTo>
                  <a:pt x="1236" y="90"/>
                </a:lnTo>
                <a:lnTo>
                  <a:pt x="1272" y="84"/>
                </a:lnTo>
                <a:lnTo>
                  <a:pt x="1296" y="78"/>
                </a:lnTo>
                <a:lnTo>
                  <a:pt x="1308" y="78"/>
                </a:lnTo>
                <a:lnTo>
                  <a:pt x="1326" y="66"/>
                </a:lnTo>
                <a:lnTo>
                  <a:pt x="1332" y="66"/>
                </a:lnTo>
                <a:lnTo>
                  <a:pt x="1362" y="60"/>
                </a:lnTo>
                <a:lnTo>
                  <a:pt x="1368" y="60"/>
                </a:lnTo>
                <a:lnTo>
                  <a:pt x="1380" y="60"/>
                </a:lnTo>
                <a:lnTo>
                  <a:pt x="1386" y="60"/>
                </a:lnTo>
                <a:lnTo>
                  <a:pt x="1386" y="54"/>
                </a:lnTo>
                <a:lnTo>
                  <a:pt x="1392" y="54"/>
                </a:lnTo>
                <a:lnTo>
                  <a:pt x="1428" y="48"/>
                </a:lnTo>
                <a:lnTo>
                  <a:pt x="1440" y="42"/>
                </a:lnTo>
                <a:lnTo>
                  <a:pt x="1452" y="42"/>
                </a:lnTo>
                <a:lnTo>
                  <a:pt x="1458" y="36"/>
                </a:lnTo>
                <a:lnTo>
                  <a:pt x="1470" y="36"/>
                </a:lnTo>
                <a:lnTo>
                  <a:pt x="1500" y="24"/>
                </a:lnTo>
                <a:lnTo>
                  <a:pt x="1524" y="18"/>
                </a:lnTo>
                <a:lnTo>
                  <a:pt x="1548" y="12"/>
                </a:lnTo>
                <a:lnTo>
                  <a:pt x="1548" y="6"/>
                </a:lnTo>
                <a:lnTo>
                  <a:pt x="1572" y="6"/>
                </a:lnTo>
                <a:lnTo>
                  <a:pt x="1584" y="0"/>
                </a:lnTo>
                <a:lnTo>
                  <a:pt x="159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4" name="Freeform 12">
            <a:extLst>
              <a:ext uri="{FF2B5EF4-FFF2-40B4-BE49-F238E27FC236}">
                <a16:creationId xmlns:a16="http://schemas.microsoft.com/office/drawing/2014/main" id="{3A9927F8-FC89-4D43-9755-FB9E7C0770FB}"/>
              </a:ext>
            </a:extLst>
          </p:cNvPr>
          <p:cNvSpPr>
            <a:spLocks/>
          </p:cNvSpPr>
          <p:nvPr/>
        </p:nvSpPr>
        <p:spPr bwMode="gray">
          <a:xfrm rot="533595">
            <a:off x="6013847" y="2741938"/>
            <a:ext cx="1670944" cy="1625394"/>
          </a:xfrm>
          <a:custGeom>
            <a:avLst/>
            <a:gdLst>
              <a:gd name="T0" fmla="*/ 1032 w 1842"/>
              <a:gd name="T1" fmla="*/ 84 h 1920"/>
              <a:gd name="T2" fmla="*/ 1026 w 1842"/>
              <a:gd name="T3" fmla="*/ 138 h 1920"/>
              <a:gd name="T4" fmla="*/ 1068 w 1842"/>
              <a:gd name="T5" fmla="*/ 258 h 1920"/>
              <a:gd name="T6" fmla="*/ 1188 w 1842"/>
              <a:gd name="T7" fmla="*/ 300 h 1920"/>
              <a:gd name="T8" fmla="*/ 1230 w 1842"/>
              <a:gd name="T9" fmla="*/ 360 h 1920"/>
              <a:gd name="T10" fmla="*/ 1272 w 1842"/>
              <a:gd name="T11" fmla="*/ 450 h 1920"/>
              <a:gd name="T12" fmla="*/ 1380 w 1842"/>
              <a:gd name="T13" fmla="*/ 432 h 1920"/>
              <a:gd name="T14" fmla="*/ 1416 w 1842"/>
              <a:gd name="T15" fmla="*/ 504 h 1920"/>
              <a:gd name="T16" fmla="*/ 1476 w 1842"/>
              <a:gd name="T17" fmla="*/ 552 h 1920"/>
              <a:gd name="T18" fmla="*/ 1530 w 1842"/>
              <a:gd name="T19" fmla="*/ 666 h 1920"/>
              <a:gd name="T20" fmla="*/ 1602 w 1842"/>
              <a:gd name="T21" fmla="*/ 756 h 1920"/>
              <a:gd name="T22" fmla="*/ 1728 w 1842"/>
              <a:gd name="T23" fmla="*/ 756 h 1920"/>
              <a:gd name="T24" fmla="*/ 1824 w 1842"/>
              <a:gd name="T25" fmla="*/ 846 h 1920"/>
              <a:gd name="T26" fmla="*/ 1794 w 1842"/>
              <a:gd name="T27" fmla="*/ 942 h 1920"/>
              <a:gd name="T28" fmla="*/ 1728 w 1842"/>
              <a:gd name="T29" fmla="*/ 984 h 1920"/>
              <a:gd name="T30" fmla="*/ 1662 w 1842"/>
              <a:gd name="T31" fmla="*/ 1038 h 1920"/>
              <a:gd name="T32" fmla="*/ 1566 w 1842"/>
              <a:gd name="T33" fmla="*/ 1062 h 1920"/>
              <a:gd name="T34" fmla="*/ 1452 w 1842"/>
              <a:gd name="T35" fmla="*/ 1086 h 1920"/>
              <a:gd name="T36" fmla="*/ 1326 w 1842"/>
              <a:gd name="T37" fmla="*/ 1122 h 1920"/>
              <a:gd name="T38" fmla="*/ 1308 w 1842"/>
              <a:gd name="T39" fmla="*/ 1242 h 1920"/>
              <a:gd name="T40" fmla="*/ 1350 w 1842"/>
              <a:gd name="T41" fmla="*/ 1284 h 1920"/>
              <a:gd name="T42" fmla="*/ 1332 w 1842"/>
              <a:gd name="T43" fmla="*/ 1374 h 1920"/>
              <a:gd name="T44" fmla="*/ 1230 w 1842"/>
              <a:gd name="T45" fmla="*/ 1416 h 1920"/>
              <a:gd name="T46" fmla="*/ 1338 w 1842"/>
              <a:gd name="T47" fmla="*/ 1488 h 1920"/>
              <a:gd name="T48" fmla="*/ 1332 w 1842"/>
              <a:gd name="T49" fmla="*/ 1602 h 1920"/>
              <a:gd name="T50" fmla="*/ 1356 w 1842"/>
              <a:gd name="T51" fmla="*/ 1680 h 1920"/>
              <a:gd name="T52" fmla="*/ 1380 w 1842"/>
              <a:gd name="T53" fmla="*/ 1776 h 1920"/>
              <a:gd name="T54" fmla="*/ 1338 w 1842"/>
              <a:gd name="T55" fmla="*/ 1878 h 1920"/>
              <a:gd name="T56" fmla="*/ 1242 w 1842"/>
              <a:gd name="T57" fmla="*/ 1890 h 1920"/>
              <a:gd name="T58" fmla="*/ 1170 w 1842"/>
              <a:gd name="T59" fmla="*/ 1884 h 1920"/>
              <a:gd name="T60" fmla="*/ 1062 w 1842"/>
              <a:gd name="T61" fmla="*/ 1854 h 1920"/>
              <a:gd name="T62" fmla="*/ 990 w 1842"/>
              <a:gd name="T63" fmla="*/ 1848 h 1920"/>
              <a:gd name="T64" fmla="*/ 918 w 1842"/>
              <a:gd name="T65" fmla="*/ 1866 h 1920"/>
              <a:gd name="T66" fmla="*/ 822 w 1842"/>
              <a:gd name="T67" fmla="*/ 1830 h 1920"/>
              <a:gd name="T68" fmla="*/ 744 w 1842"/>
              <a:gd name="T69" fmla="*/ 1782 h 1920"/>
              <a:gd name="T70" fmla="*/ 678 w 1842"/>
              <a:gd name="T71" fmla="*/ 1722 h 1920"/>
              <a:gd name="T72" fmla="*/ 672 w 1842"/>
              <a:gd name="T73" fmla="*/ 1602 h 1920"/>
              <a:gd name="T74" fmla="*/ 636 w 1842"/>
              <a:gd name="T75" fmla="*/ 1488 h 1920"/>
              <a:gd name="T76" fmla="*/ 750 w 1842"/>
              <a:gd name="T77" fmla="*/ 1452 h 1920"/>
              <a:gd name="T78" fmla="*/ 720 w 1842"/>
              <a:gd name="T79" fmla="*/ 1362 h 1920"/>
              <a:gd name="T80" fmla="*/ 630 w 1842"/>
              <a:gd name="T81" fmla="*/ 1278 h 1920"/>
              <a:gd name="T82" fmla="*/ 540 w 1842"/>
              <a:gd name="T83" fmla="*/ 1290 h 1920"/>
              <a:gd name="T84" fmla="*/ 510 w 1842"/>
              <a:gd name="T85" fmla="*/ 1206 h 1920"/>
              <a:gd name="T86" fmla="*/ 420 w 1842"/>
              <a:gd name="T87" fmla="*/ 1116 h 1920"/>
              <a:gd name="T88" fmla="*/ 312 w 1842"/>
              <a:gd name="T89" fmla="*/ 1026 h 1920"/>
              <a:gd name="T90" fmla="*/ 204 w 1842"/>
              <a:gd name="T91" fmla="*/ 1086 h 1920"/>
              <a:gd name="T92" fmla="*/ 90 w 1842"/>
              <a:gd name="T93" fmla="*/ 1038 h 1920"/>
              <a:gd name="T94" fmla="*/ 12 w 1842"/>
              <a:gd name="T95" fmla="*/ 972 h 1920"/>
              <a:gd name="T96" fmla="*/ 24 w 1842"/>
              <a:gd name="T97" fmla="*/ 888 h 1920"/>
              <a:gd name="T98" fmla="*/ 36 w 1842"/>
              <a:gd name="T99" fmla="*/ 798 h 1920"/>
              <a:gd name="T100" fmla="*/ 90 w 1842"/>
              <a:gd name="T101" fmla="*/ 750 h 1920"/>
              <a:gd name="T102" fmla="*/ 78 w 1842"/>
              <a:gd name="T103" fmla="*/ 696 h 1920"/>
              <a:gd name="T104" fmla="*/ 60 w 1842"/>
              <a:gd name="T105" fmla="*/ 618 h 1920"/>
              <a:gd name="T106" fmla="*/ 102 w 1842"/>
              <a:gd name="T107" fmla="*/ 540 h 1920"/>
              <a:gd name="T108" fmla="*/ 138 w 1842"/>
              <a:gd name="T109" fmla="*/ 486 h 1920"/>
              <a:gd name="T110" fmla="*/ 144 w 1842"/>
              <a:gd name="T111" fmla="*/ 396 h 1920"/>
              <a:gd name="T112" fmla="*/ 252 w 1842"/>
              <a:gd name="T113" fmla="*/ 360 h 1920"/>
              <a:gd name="T114" fmla="*/ 366 w 1842"/>
              <a:gd name="T115" fmla="*/ 354 h 1920"/>
              <a:gd name="T116" fmla="*/ 450 w 1842"/>
              <a:gd name="T117" fmla="*/ 318 h 1920"/>
              <a:gd name="T118" fmla="*/ 582 w 1842"/>
              <a:gd name="T119" fmla="*/ 204 h 1920"/>
              <a:gd name="T120" fmla="*/ 672 w 1842"/>
              <a:gd name="T121" fmla="*/ 180 h 1920"/>
              <a:gd name="T122" fmla="*/ 768 w 1842"/>
              <a:gd name="T123" fmla="*/ 132 h 1920"/>
              <a:gd name="T124" fmla="*/ 888 w 1842"/>
              <a:gd name="T125" fmla="*/ 60 h 192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842" h="1920">
                <a:moveTo>
                  <a:pt x="984" y="0"/>
                </a:moveTo>
                <a:lnTo>
                  <a:pt x="984" y="6"/>
                </a:lnTo>
                <a:lnTo>
                  <a:pt x="990" y="6"/>
                </a:lnTo>
                <a:lnTo>
                  <a:pt x="990" y="12"/>
                </a:lnTo>
                <a:lnTo>
                  <a:pt x="984" y="12"/>
                </a:lnTo>
                <a:lnTo>
                  <a:pt x="984" y="6"/>
                </a:lnTo>
                <a:lnTo>
                  <a:pt x="984" y="12"/>
                </a:lnTo>
                <a:lnTo>
                  <a:pt x="978" y="12"/>
                </a:lnTo>
                <a:lnTo>
                  <a:pt x="984" y="12"/>
                </a:lnTo>
                <a:lnTo>
                  <a:pt x="984" y="18"/>
                </a:lnTo>
                <a:lnTo>
                  <a:pt x="990" y="18"/>
                </a:lnTo>
                <a:lnTo>
                  <a:pt x="984" y="24"/>
                </a:lnTo>
                <a:lnTo>
                  <a:pt x="990" y="24"/>
                </a:lnTo>
                <a:lnTo>
                  <a:pt x="990" y="30"/>
                </a:lnTo>
                <a:lnTo>
                  <a:pt x="996" y="30"/>
                </a:lnTo>
                <a:lnTo>
                  <a:pt x="996" y="36"/>
                </a:lnTo>
                <a:lnTo>
                  <a:pt x="1002" y="36"/>
                </a:lnTo>
                <a:lnTo>
                  <a:pt x="1002" y="42"/>
                </a:lnTo>
                <a:lnTo>
                  <a:pt x="1002" y="48"/>
                </a:lnTo>
                <a:lnTo>
                  <a:pt x="1002" y="54"/>
                </a:lnTo>
                <a:lnTo>
                  <a:pt x="1002" y="48"/>
                </a:lnTo>
                <a:lnTo>
                  <a:pt x="1008" y="48"/>
                </a:lnTo>
                <a:lnTo>
                  <a:pt x="1008" y="54"/>
                </a:lnTo>
                <a:lnTo>
                  <a:pt x="1014" y="60"/>
                </a:lnTo>
                <a:lnTo>
                  <a:pt x="1020" y="60"/>
                </a:lnTo>
                <a:lnTo>
                  <a:pt x="1020" y="66"/>
                </a:lnTo>
                <a:lnTo>
                  <a:pt x="1020" y="72"/>
                </a:lnTo>
                <a:lnTo>
                  <a:pt x="1020" y="78"/>
                </a:lnTo>
                <a:lnTo>
                  <a:pt x="1026" y="72"/>
                </a:lnTo>
                <a:lnTo>
                  <a:pt x="1026" y="78"/>
                </a:lnTo>
                <a:lnTo>
                  <a:pt x="1032" y="78"/>
                </a:lnTo>
                <a:lnTo>
                  <a:pt x="1032" y="84"/>
                </a:lnTo>
                <a:lnTo>
                  <a:pt x="1026" y="84"/>
                </a:lnTo>
                <a:lnTo>
                  <a:pt x="1026" y="90"/>
                </a:lnTo>
                <a:lnTo>
                  <a:pt x="1020" y="90"/>
                </a:lnTo>
                <a:lnTo>
                  <a:pt x="1020" y="96"/>
                </a:lnTo>
                <a:lnTo>
                  <a:pt x="1026" y="96"/>
                </a:lnTo>
                <a:lnTo>
                  <a:pt x="1032" y="102"/>
                </a:lnTo>
                <a:lnTo>
                  <a:pt x="1020" y="102"/>
                </a:lnTo>
                <a:lnTo>
                  <a:pt x="1026" y="108"/>
                </a:lnTo>
                <a:lnTo>
                  <a:pt x="1032" y="108"/>
                </a:lnTo>
                <a:lnTo>
                  <a:pt x="1032" y="102"/>
                </a:lnTo>
                <a:lnTo>
                  <a:pt x="1038" y="102"/>
                </a:lnTo>
                <a:lnTo>
                  <a:pt x="1044" y="102"/>
                </a:lnTo>
                <a:lnTo>
                  <a:pt x="1044" y="108"/>
                </a:lnTo>
                <a:lnTo>
                  <a:pt x="1050" y="108"/>
                </a:lnTo>
                <a:lnTo>
                  <a:pt x="1050" y="114"/>
                </a:lnTo>
                <a:lnTo>
                  <a:pt x="1056" y="114"/>
                </a:lnTo>
                <a:lnTo>
                  <a:pt x="1062" y="114"/>
                </a:lnTo>
                <a:lnTo>
                  <a:pt x="1062" y="120"/>
                </a:lnTo>
                <a:lnTo>
                  <a:pt x="1056" y="120"/>
                </a:lnTo>
                <a:lnTo>
                  <a:pt x="1050" y="126"/>
                </a:lnTo>
                <a:lnTo>
                  <a:pt x="1050" y="120"/>
                </a:lnTo>
                <a:lnTo>
                  <a:pt x="1044" y="120"/>
                </a:lnTo>
                <a:lnTo>
                  <a:pt x="1044" y="126"/>
                </a:lnTo>
                <a:lnTo>
                  <a:pt x="1038" y="126"/>
                </a:lnTo>
                <a:lnTo>
                  <a:pt x="1038" y="120"/>
                </a:lnTo>
                <a:lnTo>
                  <a:pt x="1032" y="120"/>
                </a:lnTo>
                <a:lnTo>
                  <a:pt x="1026" y="120"/>
                </a:lnTo>
                <a:lnTo>
                  <a:pt x="1026" y="126"/>
                </a:lnTo>
                <a:lnTo>
                  <a:pt x="1032" y="126"/>
                </a:lnTo>
                <a:lnTo>
                  <a:pt x="1032" y="132"/>
                </a:lnTo>
                <a:lnTo>
                  <a:pt x="1032" y="138"/>
                </a:lnTo>
                <a:lnTo>
                  <a:pt x="1026" y="138"/>
                </a:lnTo>
                <a:lnTo>
                  <a:pt x="1026" y="144"/>
                </a:lnTo>
                <a:lnTo>
                  <a:pt x="1032" y="144"/>
                </a:lnTo>
                <a:lnTo>
                  <a:pt x="1032" y="150"/>
                </a:lnTo>
                <a:lnTo>
                  <a:pt x="1032" y="156"/>
                </a:lnTo>
                <a:lnTo>
                  <a:pt x="1032" y="162"/>
                </a:lnTo>
                <a:lnTo>
                  <a:pt x="1020" y="162"/>
                </a:lnTo>
                <a:lnTo>
                  <a:pt x="1026" y="168"/>
                </a:lnTo>
                <a:lnTo>
                  <a:pt x="1026" y="174"/>
                </a:lnTo>
                <a:lnTo>
                  <a:pt x="1032" y="174"/>
                </a:lnTo>
                <a:lnTo>
                  <a:pt x="1038" y="174"/>
                </a:lnTo>
                <a:lnTo>
                  <a:pt x="1038" y="180"/>
                </a:lnTo>
                <a:lnTo>
                  <a:pt x="1038" y="186"/>
                </a:lnTo>
                <a:lnTo>
                  <a:pt x="1044" y="186"/>
                </a:lnTo>
                <a:lnTo>
                  <a:pt x="1044" y="192"/>
                </a:lnTo>
                <a:lnTo>
                  <a:pt x="1050" y="192"/>
                </a:lnTo>
                <a:lnTo>
                  <a:pt x="1050" y="198"/>
                </a:lnTo>
                <a:lnTo>
                  <a:pt x="1056" y="198"/>
                </a:lnTo>
                <a:lnTo>
                  <a:pt x="1050" y="198"/>
                </a:lnTo>
                <a:lnTo>
                  <a:pt x="1044" y="204"/>
                </a:lnTo>
                <a:lnTo>
                  <a:pt x="1050" y="204"/>
                </a:lnTo>
                <a:lnTo>
                  <a:pt x="1050" y="210"/>
                </a:lnTo>
                <a:lnTo>
                  <a:pt x="1050" y="216"/>
                </a:lnTo>
                <a:lnTo>
                  <a:pt x="1056" y="216"/>
                </a:lnTo>
                <a:lnTo>
                  <a:pt x="1056" y="222"/>
                </a:lnTo>
                <a:lnTo>
                  <a:pt x="1062" y="228"/>
                </a:lnTo>
                <a:lnTo>
                  <a:pt x="1068" y="228"/>
                </a:lnTo>
                <a:lnTo>
                  <a:pt x="1068" y="234"/>
                </a:lnTo>
                <a:lnTo>
                  <a:pt x="1068" y="240"/>
                </a:lnTo>
                <a:lnTo>
                  <a:pt x="1068" y="246"/>
                </a:lnTo>
                <a:lnTo>
                  <a:pt x="1062" y="246"/>
                </a:lnTo>
                <a:lnTo>
                  <a:pt x="1068" y="252"/>
                </a:lnTo>
                <a:lnTo>
                  <a:pt x="1068" y="258"/>
                </a:lnTo>
                <a:lnTo>
                  <a:pt x="1074" y="264"/>
                </a:lnTo>
                <a:lnTo>
                  <a:pt x="1080" y="270"/>
                </a:lnTo>
                <a:lnTo>
                  <a:pt x="1086" y="270"/>
                </a:lnTo>
                <a:lnTo>
                  <a:pt x="1086" y="276"/>
                </a:lnTo>
                <a:lnTo>
                  <a:pt x="1092" y="276"/>
                </a:lnTo>
                <a:lnTo>
                  <a:pt x="1098" y="270"/>
                </a:lnTo>
                <a:lnTo>
                  <a:pt x="1104" y="270"/>
                </a:lnTo>
                <a:lnTo>
                  <a:pt x="1110" y="270"/>
                </a:lnTo>
                <a:lnTo>
                  <a:pt x="1116" y="270"/>
                </a:lnTo>
                <a:lnTo>
                  <a:pt x="1116" y="264"/>
                </a:lnTo>
                <a:lnTo>
                  <a:pt x="1122" y="264"/>
                </a:lnTo>
                <a:lnTo>
                  <a:pt x="1122" y="270"/>
                </a:lnTo>
                <a:lnTo>
                  <a:pt x="1128" y="270"/>
                </a:lnTo>
                <a:lnTo>
                  <a:pt x="1128" y="276"/>
                </a:lnTo>
                <a:lnTo>
                  <a:pt x="1134" y="276"/>
                </a:lnTo>
                <a:lnTo>
                  <a:pt x="1134" y="282"/>
                </a:lnTo>
                <a:lnTo>
                  <a:pt x="1140" y="288"/>
                </a:lnTo>
                <a:lnTo>
                  <a:pt x="1140" y="294"/>
                </a:lnTo>
                <a:lnTo>
                  <a:pt x="1146" y="294"/>
                </a:lnTo>
                <a:lnTo>
                  <a:pt x="1152" y="294"/>
                </a:lnTo>
                <a:lnTo>
                  <a:pt x="1152" y="300"/>
                </a:lnTo>
                <a:lnTo>
                  <a:pt x="1158" y="306"/>
                </a:lnTo>
                <a:lnTo>
                  <a:pt x="1164" y="300"/>
                </a:lnTo>
                <a:lnTo>
                  <a:pt x="1170" y="300"/>
                </a:lnTo>
                <a:lnTo>
                  <a:pt x="1170" y="294"/>
                </a:lnTo>
                <a:lnTo>
                  <a:pt x="1176" y="294"/>
                </a:lnTo>
                <a:lnTo>
                  <a:pt x="1176" y="288"/>
                </a:lnTo>
                <a:lnTo>
                  <a:pt x="1176" y="282"/>
                </a:lnTo>
                <a:lnTo>
                  <a:pt x="1182" y="282"/>
                </a:lnTo>
                <a:lnTo>
                  <a:pt x="1188" y="288"/>
                </a:lnTo>
                <a:lnTo>
                  <a:pt x="1188" y="294"/>
                </a:lnTo>
                <a:lnTo>
                  <a:pt x="1188" y="300"/>
                </a:lnTo>
                <a:lnTo>
                  <a:pt x="1182" y="300"/>
                </a:lnTo>
                <a:lnTo>
                  <a:pt x="1182" y="306"/>
                </a:lnTo>
                <a:lnTo>
                  <a:pt x="1188" y="306"/>
                </a:lnTo>
                <a:lnTo>
                  <a:pt x="1188" y="312"/>
                </a:lnTo>
                <a:lnTo>
                  <a:pt x="1194" y="312"/>
                </a:lnTo>
                <a:lnTo>
                  <a:pt x="1194" y="318"/>
                </a:lnTo>
                <a:lnTo>
                  <a:pt x="1188" y="318"/>
                </a:lnTo>
                <a:lnTo>
                  <a:pt x="1182" y="318"/>
                </a:lnTo>
                <a:lnTo>
                  <a:pt x="1176" y="318"/>
                </a:lnTo>
                <a:lnTo>
                  <a:pt x="1176" y="312"/>
                </a:lnTo>
                <a:lnTo>
                  <a:pt x="1176" y="318"/>
                </a:lnTo>
                <a:lnTo>
                  <a:pt x="1176" y="324"/>
                </a:lnTo>
                <a:lnTo>
                  <a:pt x="1170" y="324"/>
                </a:lnTo>
                <a:lnTo>
                  <a:pt x="1170" y="330"/>
                </a:lnTo>
                <a:lnTo>
                  <a:pt x="1170" y="336"/>
                </a:lnTo>
                <a:lnTo>
                  <a:pt x="1164" y="336"/>
                </a:lnTo>
                <a:lnTo>
                  <a:pt x="1170" y="336"/>
                </a:lnTo>
                <a:lnTo>
                  <a:pt x="1170" y="342"/>
                </a:lnTo>
                <a:lnTo>
                  <a:pt x="1176" y="348"/>
                </a:lnTo>
                <a:lnTo>
                  <a:pt x="1182" y="348"/>
                </a:lnTo>
                <a:lnTo>
                  <a:pt x="1188" y="348"/>
                </a:lnTo>
                <a:lnTo>
                  <a:pt x="1188" y="354"/>
                </a:lnTo>
                <a:lnTo>
                  <a:pt x="1194" y="354"/>
                </a:lnTo>
                <a:lnTo>
                  <a:pt x="1194" y="360"/>
                </a:lnTo>
                <a:lnTo>
                  <a:pt x="1200" y="360"/>
                </a:lnTo>
                <a:lnTo>
                  <a:pt x="1200" y="354"/>
                </a:lnTo>
                <a:lnTo>
                  <a:pt x="1206" y="354"/>
                </a:lnTo>
                <a:lnTo>
                  <a:pt x="1212" y="354"/>
                </a:lnTo>
                <a:lnTo>
                  <a:pt x="1212" y="360"/>
                </a:lnTo>
                <a:lnTo>
                  <a:pt x="1218" y="360"/>
                </a:lnTo>
                <a:lnTo>
                  <a:pt x="1224" y="360"/>
                </a:lnTo>
                <a:lnTo>
                  <a:pt x="1230" y="360"/>
                </a:lnTo>
                <a:lnTo>
                  <a:pt x="1230" y="366"/>
                </a:lnTo>
                <a:lnTo>
                  <a:pt x="1230" y="372"/>
                </a:lnTo>
                <a:lnTo>
                  <a:pt x="1230" y="378"/>
                </a:lnTo>
                <a:lnTo>
                  <a:pt x="1230" y="372"/>
                </a:lnTo>
                <a:lnTo>
                  <a:pt x="1236" y="372"/>
                </a:lnTo>
                <a:lnTo>
                  <a:pt x="1236" y="378"/>
                </a:lnTo>
                <a:lnTo>
                  <a:pt x="1242" y="378"/>
                </a:lnTo>
                <a:lnTo>
                  <a:pt x="1242" y="384"/>
                </a:lnTo>
                <a:lnTo>
                  <a:pt x="1242" y="390"/>
                </a:lnTo>
                <a:lnTo>
                  <a:pt x="1248" y="390"/>
                </a:lnTo>
                <a:lnTo>
                  <a:pt x="1242" y="396"/>
                </a:lnTo>
                <a:lnTo>
                  <a:pt x="1242" y="402"/>
                </a:lnTo>
                <a:lnTo>
                  <a:pt x="1236" y="402"/>
                </a:lnTo>
                <a:lnTo>
                  <a:pt x="1230" y="402"/>
                </a:lnTo>
                <a:lnTo>
                  <a:pt x="1236" y="402"/>
                </a:lnTo>
                <a:lnTo>
                  <a:pt x="1236" y="408"/>
                </a:lnTo>
                <a:lnTo>
                  <a:pt x="1242" y="408"/>
                </a:lnTo>
                <a:lnTo>
                  <a:pt x="1242" y="414"/>
                </a:lnTo>
                <a:lnTo>
                  <a:pt x="1242" y="420"/>
                </a:lnTo>
                <a:lnTo>
                  <a:pt x="1242" y="426"/>
                </a:lnTo>
                <a:lnTo>
                  <a:pt x="1242" y="432"/>
                </a:lnTo>
                <a:lnTo>
                  <a:pt x="1248" y="438"/>
                </a:lnTo>
                <a:lnTo>
                  <a:pt x="1248" y="432"/>
                </a:lnTo>
                <a:lnTo>
                  <a:pt x="1254" y="426"/>
                </a:lnTo>
                <a:lnTo>
                  <a:pt x="1260" y="426"/>
                </a:lnTo>
                <a:lnTo>
                  <a:pt x="1260" y="432"/>
                </a:lnTo>
                <a:lnTo>
                  <a:pt x="1260" y="438"/>
                </a:lnTo>
                <a:lnTo>
                  <a:pt x="1254" y="438"/>
                </a:lnTo>
                <a:lnTo>
                  <a:pt x="1260" y="444"/>
                </a:lnTo>
                <a:lnTo>
                  <a:pt x="1260" y="450"/>
                </a:lnTo>
                <a:lnTo>
                  <a:pt x="1266" y="450"/>
                </a:lnTo>
                <a:lnTo>
                  <a:pt x="1272" y="450"/>
                </a:lnTo>
                <a:lnTo>
                  <a:pt x="1278" y="450"/>
                </a:lnTo>
                <a:lnTo>
                  <a:pt x="1284" y="456"/>
                </a:lnTo>
                <a:lnTo>
                  <a:pt x="1284" y="450"/>
                </a:lnTo>
                <a:lnTo>
                  <a:pt x="1290" y="444"/>
                </a:lnTo>
                <a:lnTo>
                  <a:pt x="1290" y="438"/>
                </a:lnTo>
                <a:lnTo>
                  <a:pt x="1296" y="444"/>
                </a:lnTo>
                <a:lnTo>
                  <a:pt x="1302" y="450"/>
                </a:lnTo>
                <a:lnTo>
                  <a:pt x="1308" y="450"/>
                </a:lnTo>
                <a:lnTo>
                  <a:pt x="1308" y="444"/>
                </a:lnTo>
                <a:lnTo>
                  <a:pt x="1314" y="444"/>
                </a:lnTo>
                <a:lnTo>
                  <a:pt x="1320" y="438"/>
                </a:lnTo>
                <a:lnTo>
                  <a:pt x="1326" y="438"/>
                </a:lnTo>
                <a:lnTo>
                  <a:pt x="1326" y="432"/>
                </a:lnTo>
                <a:lnTo>
                  <a:pt x="1338" y="432"/>
                </a:lnTo>
                <a:lnTo>
                  <a:pt x="1344" y="432"/>
                </a:lnTo>
                <a:lnTo>
                  <a:pt x="1338" y="426"/>
                </a:lnTo>
                <a:lnTo>
                  <a:pt x="1338" y="414"/>
                </a:lnTo>
                <a:lnTo>
                  <a:pt x="1344" y="414"/>
                </a:lnTo>
                <a:lnTo>
                  <a:pt x="1344" y="408"/>
                </a:lnTo>
                <a:lnTo>
                  <a:pt x="1350" y="414"/>
                </a:lnTo>
                <a:lnTo>
                  <a:pt x="1356" y="414"/>
                </a:lnTo>
                <a:lnTo>
                  <a:pt x="1362" y="414"/>
                </a:lnTo>
                <a:lnTo>
                  <a:pt x="1362" y="408"/>
                </a:lnTo>
                <a:lnTo>
                  <a:pt x="1368" y="408"/>
                </a:lnTo>
                <a:lnTo>
                  <a:pt x="1374" y="402"/>
                </a:lnTo>
                <a:lnTo>
                  <a:pt x="1374" y="408"/>
                </a:lnTo>
                <a:lnTo>
                  <a:pt x="1374" y="414"/>
                </a:lnTo>
                <a:lnTo>
                  <a:pt x="1380" y="414"/>
                </a:lnTo>
                <a:lnTo>
                  <a:pt x="1374" y="420"/>
                </a:lnTo>
                <a:lnTo>
                  <a:pt x="1374" y="426"/>
                </a:lnTo>
                <a:lnTo>
                  <a:pt x="1374" y="432"/>
                </a:lnTo>
                <a:lnTo>
                  <a:pt x="1380" y="432"/>
                </a:lnTo>
                <a:lnTo>
                  <a:pt x="1380" y="426"/>
                </a:lnTo>
                <a:lnTo>
                  <a:pt x="1386" y="426"/>
                </a:lnTo>
                <a:lnTo>
                  <a:pt x="1386" y="432"/>
                </a:lnTo>
                <a:lnTo>
                  <a:pt x="1386" y="438"/>
                </a:lnTo>
                <a:lnTo>
                  <a:pt x="1386" y="444"/>
                </a:lnTo>
                <a:lnTo>
                  <a:pt x="1380" y="444"/>
                </a:lnTo>
                <a:lnTo>
                  <a:pt x="1374" y="444"/>
                </a:lnTo>
                <a:lnTo>
                  <a:pt x="1374" y="438"/>
                </a:lnTo>
                <a:lnTo>
                  <a:pt x="1368" y="438"/>
                </a:lnTo>
                <a:lnTo>
                  <a:pt x="1368" y="444"/>
                </a:lnTo>
                <a:lnTo>
                  <a:pt x="1362" y="444"/>
                </a:lnTo>
                <a:lnTo>
                  <a:pt x="1362" y="450"/>
                </a:lnTo>
                <a:lnTo>
                  <a:pt x="1368" y="450"/>
                </a:lnTo>
                <a:lnTo>
                  <a:pt x="1368" y="456"/>
                </a:lnTo>
                <a:lnTo>
                  <a:pt x="1374" y="462"/>
                </a:lnTo>
                <a:lnTo>
                  <a:pt x="1374" y="468"/>
                </a:lnTo>
                <a:lnTo>
                  <a:pt x="1380" y="468"/>
                </a:lnTo>
                <a:lnTo>
                  <a:pt x="1380" y="474"/>
                </a:lnTo>
                <a:lnTo>
                  <a:pt x="1386" y="480"/>
                </a:lnTo>
                <a:lnTo>
                  <a:pt x="1386" y="486"/>
                </a:lnTo>
                <a:lnTo>
                  <a:pt x="1392" y="486"/>
                </a:lnTo>
                <a:lnTo>
                  <a:pt x="1398" y="480"/>
                </a:lnTo>
                <a:lnTo>
                  <a:pt x="1404" y="480"/>
                </a:lnTo>
                <a:lnTo>
                  <a:pt x="1410" y="480"/>
                </a:lnTo>
                <a:lnTo>
                  <a:pt x="1404" y="486"/>
                </a:lnTo>
                <a:lnTo>
                  <a:pt x="1404" y="492"/>
                </a:lnTo>
                <a:lnTo>
                  <a:pt x="1410" y="492"/>
                </a:lnTo>
                <a:lnTo>
                  <a:pt x="1410" y="498"/>
                </a:lnTo>
                <a:lnTo>
                  <a:pt x="1410" y="504"/>
                </a:lnTo>
                <a:lnTo>
                  <a:pt x="1416" y="504"/>
                </a:lnTo>
                <a:lnTo>
                  <a:pt x="1416" y="498"/>
                </a:lnTo>
                <a:lnTo>
                  <a:pt x="1416" y="504"/>
                </a:lnTo>
                <a:lnTo>
                  <a:pt x="1416" y="498"/>
                </a:lnTo>
                <a:lnTo>
                  <a:pt x="1422" y="498"/>
                </a:lnTo>
                <a:lnTo>
                  <a:pt x="1416" y="498"/>
                </a:lnTo>
                <a:lnTo>
                  <a:pt x="1416" y="492"/>
                </a:lnTo>
                <a:lnTo>
                  <a:pt x="1416" y="486"/>
                </a:lnTo>
                <a:lnTo>
                  <a:pt x="1416" y="480"/>
                </a:lnTo>
                <a:lnTo>
                  <a:pt x="1422" y="480"/>
                </a:lnTo>
                <a:lnTo>
                  <a:pt x="1428" y="480"/>
                </a:lnTo>
                <a:lnTo>
                  <a:pt x="1434" y="480"/>
                </a:lnTo>
                <a:lnTo>
                  <a:pt x="1434" y="474"/>
                </a:lnTo>
                <a:lnTo>
                  <a:pt x="1434" y="468"/>
                </a:lnTo>
                <a:lnTo>
                  <a:pt x="1440" y="468"/>
                </a:lnTo>
                <a:lnTo>
                  <a:pt x="1446" y="468"/>
                </a:lnTo>
                <a:lnTo>
                  <a:pt x="1452" y="468"/>
                </a:lnTo>
                <a:lnTo>
                  <a:pt x="1458" y="468"/>
                </a:lnTo>
                <a:lnTo>
                  <a:pt x="1464" y="468"/>
                </a:lnTo>
                <a:lnTo>
                  <a:pt x="1464" y="474"/>
                </a:lnTo>
                <a:lnTo>
                  <a:pt x="1470" y="474"/>
                </a:lnTo>
                <a:lnTo>
                  <a:pt x="1470" y="480"/>
                </a:lnTo>
                <a:lnTo>
                  <a:pt x="1470" y="486"/>
                </a:lnTo>
                <a:lnTo>
                  <a:pt x="1470" y="492"/>
                </a:lnTo>
                <a:lnTo>
                  <a:pt x="1470" y="498"/>
                </a:lnTo>
                <a:lnTo>
                  <a:pt x="1470" y="504"/>
                </a:lnTo>
                <a:lnTo>
                  <a:pt x="1470" y="510"/>
                </a:lnTo>
                <a:lnTo>
                  <a:pt x="1470" y="516"/>
                </a:lnTo>
                <a:lnTo>
                  <a:pt x="1470" y="522"/>
                </a:lnTo>
                <a:lnTo>
                  <a:pt x="1470" y="528"/>
                </a:lnTo>
                <a:lnTo>
                  <a:pt x="1470" y="534"/>
                </a:lnTo>
                <a:lnTo>
                  <a:pt x="1470" y="540"/>
                </a:lnTo>
                <a:lnTo>
                  <a:pt x="1470" y="546"/>
                </a:lnTo>
                <a:lnTo>
                  <a:pt x="1476" y="546"/>
                </a:lnTo>
                <a:lnTo>
                  <a:pt x="1476" y="552"/>
                </a:lnTo>
                <a:lnTo>
                  <a:pt x="1476" y="558"/>
                </a:lnTo>
                <a:lnTo>
                  <a:pt x="1476" y="564"/>
                </a:lnTo>
                <a:lnTo>
                  <a:pt x="1482" y="570"/>
                </a:lnTo>
                <a:lnTo>
                  <a:pt x="1488" y="570"/>
                </a:lnTo>
                <a:lnTo>
                  <a:pt x="1488" y="576"/>
                </a:lnTo>
                <a:lnTo>
                  <a:pt x="1488" y="582"/>
                </a:lnTo>
                <a:lnTo>
                  <a:pt x="1482" y="582"/>
                </a:lnTo>
                <a:lnTo>
                  <a:pt x="1488" y="588"/>
                </a:lnTo>
                <a:lnTo>
                  <a:pt x="1488" y="594"/>
                </a:lnTo>
                <a:lnTo>
                  <a:pt x="1482" y="594"/>
                </a:lnTo>
                <a:lnTo>
                  <a:pt x="1476" y="600"/>
                </a:lnTo>
                <a:lnTo>
                  <a:pt x="1476" y="606"/>
                </a:lnTo>
                <a:lnTo>
                  <a:pt x="1470" y="606"/>
                </a:lnTo>
                <a:lnTo>
                  <a:pt x="1470" y="612"/>
                </a:lnTo>
                <a:lnTo>
                  <a:pt x="1476" y="612"/>
                </a:lnTo>
                <a:lnTo>
                  <a:pt x="1476" y="618"/>
                </a:lnTo>
                <a:lnTo>
                  <a:pt x="1482" y="618"/>
                </a:lnTo>
                <a:lnTo>
                  <a:pt x="1488" y="618"/>
                </a:lnTo>
                <a:lnTo>
                  <a:pt x="1488" y="624"/>
                </a:lnTo>
                <a:lnTo>
                  <a:pt x="1494" y="624"/>
                </a:lnTo>
                <a:lnTo>
                  <a:pt x="1500" y="630"/>
                </a:lnTo>
                <a:lnTo>
                  <a:pt x="1500" y="636"/>
                </a:lnTo>
                <a:lnTo>
                  <a:pt x="1506" y="636"/>
                </a:lnTo>
                <a:lnTo>
                  <a:pt x="1512" y="636"/>
                </a:lnTo>
                <a:lnTo>
                  <a:pt x="1512" y="642"/>
                </a:lnTo>
                <a:lnTo>
                  <a:pt x="1512" y="648"/>
                </a:lnTo>
                <a:lnTo>
                  <a:pt x="1518" y="648"/>
                </a:lnTo>
                <a:lnTo>
                  <a:pt x="1518" y="654"/>
                </a:lnTo>
                <a:lnTo>
                  <a:pt x="1524" y="654"/>
                </a:lnTo>
                <a:lnTo>
                  <a:pt x="1524" y="660"/>
                </a:lnTo>
                <a:lnTo>
                  <a:pt x="1530" y="660"/>
                </a:lnTo>
                <a:lnTo>
                  <a:pt x="1530" y="666"/>
                </a:lnTo>
                <a:lnTo>
                  <a:pt x="1536" y="666"/>
                </a:lnTo>
                <a:lnTo>
                  <a:pt x="1536" y="672"/>
                </a:lnTo>
                <a:lnTo>
                  <a:pt x="1536" y="678"/>
                </a:lnTo>
                <a:lnTo>
                  <a:pt x="1536" y="684"/>
                </a:lnTo>
                <a:lnTo>
                  <a:pt x="1536" y="690"/>
                </a:lnTo>
                <a:lnTo>
                  <a:pt x="1536" y="696"/>
                </a:lnTo>
                <a:lnTo>
                  <a:pt x="1536" y="702"/>
                </a:lnTo>
                <a:lnTo>
                  <a:pt x="1542" y="702"/>
                </a:lnTo>
                <a:lnTo>
                  <a:pt x="1542" y="708"/>
                </a:lnTo>
                <a:lnTo>
                  <a:pt x="1548" y="708"/>
                </a:lnTo>
                <a:lnTo>
                  <a:pt x="1548" y="714"/>
                </a:lnTo>
                <a:lnTo>
                  <a:pt x="1548" y="708"/>
                </a:lnTo>
                <a:lnTo>
                  <a:pt x="1554" y="708"/>
                </a:lnTo>
                <a:lnTo>
                  <a:pt x="1560" y="708"/>
                </a:lnTo>
                <a:lnTo>
                  <a:pt x="1554" y="708"/>
                </a:lnTo>
                <a:lnTo>
                  <a:pt x="1554" y="714"/>
                </a:lnTo>
                <a:lnTo>
                  <a:pt x="1554" y="720"/>
                </a:lnTo>
                <a:lnTo>
                  <a:pt x="1554" y="726"/>
                </a:lnTo>
                <a:lnTo>
                  <a:pt x="1554" y="732"/>
                </a:lnTo>
                <a:lnTo>
                  <a:pt x="1554" y="738"/>
                </a:lnTo>
                <a:lnTo>
                  <a:pt x="1554" y="744"/>
                </a:lnTo>
                <a:lnTo>
                  <a:pt x="1560" y="744"/>
                </a:lnTo>
                <a:lnTo>
                  <a:pt x="1566" y="744"/>
                </a:lnTo>
                <a:lnTo>
                  <a:pt x="1566" y="750"/>
                </a:lnTo>
                <a:lnTo>
                  <a:pt x="1572" y="756"/>
                </a:lnTo>
                <a:lnTo>
                  <a:pt x="1578" y="756"/>
                </a:lnTo>
                <a:lnTo>
                  <a:pt x="1578" y="762"/>
                </a:lnTo>
                <a:lnTo>
                  <a:pt x="1584" y="756"/>
                </a:lnTo>
                <a:lnTo>
                  <a:pt x="1590" y="756"/>
                </a:lnTo>
                <a:lnTo>
                  <a:pt x="1596" y="756"/>
                </a:lnTo>
                <a:lnTo>
                  <a:pt x="1596" y="762"/>
                </a:lnTo>
                <a:lnTo>
                  <a:pt x="1602" y="756"/>
                </a:lnTo>
                <a:lnTo>
                  <a:pt x="1608" y="762"/>
                </a:lnTo>
                <a:lnTo>
                  <a:pt x="1608" y="756"/>
                </a:lnTo>
                <a:lnTo>
                  <a:pt x="1614" y="756"/>
                </a:lnTo>
                <a:lnTo>
                  <a:pt x="1620" y="756"/>
                </a:lnTo>
                <a:lnTo>
                  <a:pt x="1620" y="762"/>
                </a:lnTo>
                <a:lnTo>
                  <a:pt x="1626" y="756"/>
                </a:lnTo>
                <a:lnTo>
                  <a:pt x="1632" y="750"/>
                </a:lnTo>
                <a:lnTo>
                  <a:pt x="1638" y="750"/>
                </a:lnTo>
                <a:lnTo>
                  <a:pt x="1644" y="756"/>
                </a:lnTo>
                <a:lnTo>
                  <a:pt x="1650" y="756"/>
                </a:lnTo>
                <a:lnTo>
                  <a:pt x="1650" y="762"/>
                </a:lnTo>
                <a:lnTo>
                  <a:pt x="1650" y="768"/>
                </a:lnTo>
                <a:lnTo>
                  <a:pt x="1656" y="768"/>
                </a:lnTo>
                <a:lnTo>
                  <a:pt x="1656" y="762"/>
                </a:lnTo>
                <a:lnTo>
                  <a:pt x="1656" y="756"/>
                </a:lnTo>
                <a:lnTo>
                  <a:pt x="1662" y="756"/>
                </a:lnTo>
                <a:lnTo>
                  <a:pt x="1668" y="756"/>
                </a:lnTo>
                <a:lnTo>
                  <a:pt x="1668" y="762"/>
                </a:lnTo>
                <a:lnTo>
                  <a:pt x="1674" y="762"/>
                </a:lnTo>
                <a:lnTo>
                  <a:pt x="1680" y="762"/>
                </a:lnTo>
                <a:lnTo>
                  <a:pt x="1680" y="756"/>
                </a:lnTo>
                <a:lnTo>
                  <a:pt x="1686" y="756"/>
                </a:lnTo>
                <a:lnTo>
                  <a:pt x="1692" y="762"/>
                </a:lnTo>
                <a:lnTo>
                  <a:pt x="1698" y="762"/>
                </a:lnTo>
                <a:lnTo>
                  <a:pt x="1704" y="762"/>
                </a:lnTo>
                <a:lnTo>
                  <a:pt x="1710" y="762"/>
                </a:lnTo>
                <a:lnTo>
                  <a:pt x="1716" y="762"/>
                </a:lnTo>
                <a:lnTo>
                  <a:pt x="1716" y="756"/>
                </a:lnTo>
                <a:lnTo>
                  <a:pt x="1722" y="756"/>
                </a:lnTo>
                <a:lnTo>
                  <a:pt x="1722" y="762"/>
                </a:lnTo>
                <a:lnTo>
                  <a:pt x="1722" y="756"/>
                </a:lnTo>
                <a:lnTo>
                  <a:pt x="1728" y="756"/>
                </a:lnTo>
                <a:lnTo>
                  <a:pt x="1734" y="756"/>
                </a:lnTo>
                <a:lnTo>
                  <a:pt x="1740" y="750"/>
                </a:lnTo>
                <a:lnTo>
                  <a:pt x="1740" y="744"/>
                </a:lnTo>
                <a:lnTo>
                  <a:pt x="1746" y="744"/>
                </a:lnTo>
                <a:lnTo>
                  <a:pt x="1752" y="744"/>
                </a:lnTo>
                <a:lnTo>
                  <a:pt x="1758" y="744"/>
                </a:lnTo>
                <a:lnTo>
                  <a:pt x="1764" y="750"/>
                </a:lnTo>
                <a:lnTo>
                  <a:pt x="1770" y="750"/>
                </a:lnTo>
                <a:lnTo>
                  <a:pt x="1770" y="756"/>
                </a:lnTo>
                <a:lnTo>
                  <a:pt x="1776" y="762"/>
                </a:lnTo>
                <a:lnTo>
                  <a:pt x="1782" y="762"/>
                </a:lnTo>
                <a:lnTo>
                  <a:pt x="1782" y="768"/>
                </a:lnTo>
                <a:lnTo>
                  <a:pt x="1788" y="768"/>
                </a:lnTo>
                <a:lnTo>
                  <a:pt x="1794" y="768"/>
                </a:lnTo>
                <a:lnTo>
                  <a:pt x="1800" y="768"/>
                </a:lnTo>
                <a:lnTo>
                  <a:pt x="1806" y="768"/>
                </a:lnTo>
                <a:lnTo>
                  <a:pt x="1806" y="774"/>
                </a:lnTo>
                <a:lnTo>
                  <a:pt x="1812" y="774"/>
                </a:lnTo>
                <a:lnTo>
                  <a:pt x="1812" y="780"/>
                </a:lnTo>
                <a:lnTo>
                  <a:pt x="1818" y="786"/>
                </a:lnTo>
                <a:lnTo>
                  <a:pt x="1818" y="792"/>
                </a:lnTo>
                <a:lnTo>
                  <a:pt x="1818" y="798"/>
                </a:lnTo>
                <a:lnTo>
                  <a:pt x="1818" y="804"/>
                </a:lnTo>
                <a:lnTo>
                  <a:pt x="1824" y="804"/>
                </a:lnTo>
                <a:lnTo>
                  <a:pt x="1830" y="804"/>
                </a:lnTo>
                <a:lnTo>
                  <a:pt x="1842" y="822"/>
                </a:lnTo>
                <a:lnTo>
                  <a:pt x="1836" y="828"/>
                </a:lnTo>
                <a:lnTo>
                  <a:pt x="1836" y="834"/>
                </a:lnTo>
                <a:lnTo>
                  <a:pt x="1836" y="840"/>
                </a:lnTo>
                <a:lnTo>
                  <a:pt x="1830" y="840"/>
                </a:lnTo>
                <a:lnTo>
                  <a:pt x="1824" y="840"/>
                </a:lnTo>
                <a:lnTo>
                  <a:pt x="1824" y="846"/>
                </a:lnTo>
                <a:lnTo>
                  <a:pt x="1824" y="852"/>
                </a:lnTo>
                <a:lnTo>
                  <a:pt x="1818" y="852"/>
                </a:lnTo>
                <a:lnTo>
                  <a:pt x="1818" y="858"/>
                </a:lnTo>
                <a:lnTo>
                  <a:pt x="1818" y="864"/>
                </a:lnTo>
                <a:lnTo>
                  <a:pt x="1818" y="870"/>
                </a:lnTo>
                <a:lnTo>
                  <a:pt x="1818" y="876"/>
                </a:lnTo>
                <a:lnTo>
                  <a:pt x="1824" y="876"/>
                </a:lnTo>
                <a:lnTo>
                  <a:pt x="1824" y="882"/>
                </a:lnTo>
                <a:lnTo>
                  <a:pt x="1830" y="882"/>
                </a:lnTo>
                <a:lnTo>
                  <a:pt x="1836" y="888"/>
                </a:lnTo>
                <a:lnTo>
                  <a:pt x="1842" y="888"/>
                </a:lnTo>
                <a:lnTo>
                  <a:pt x="1836" y="888"/>
                </a:lnTo>
                <a:lnTo>
                  <a:pt x="1830" y="888"/>
                </a:lnTo>
                <a:lnTo>
                  <a:pt x="1824" y="888"/>
                </a:lnTo>
                <a:lnTo>
                  <a:pt x="1818" y="888"/>
                </a:lnTo>
                <a:lnTo>
                  <a:pt x="1818" y="894"/>
                </a:lnTo>
                <a:lnTo>
                  <a:pt x="1812" y="894"/>
                </a:lnTo>
                <a:lnTo>
                  <a:pt x="1806" y="894"/>
                </a:lnTo>
                <a:lnTo>
                  <a:pt x="1800" y="894"/>
                </a:lnTo>
                <a:lnTo>
                  <a:pt x="1800" y="900"/>
                </a:lnTo>
                <a:lnTo>
                  <a:pt x="1806" y="906"/>
                </a:lnTo>
                <a:lnTo>
                  <a:pt x="1800" y="906"/>
                </a:lnTo>
                <a:lnTo>
                  <a:pt x="1800" y="912"/>
                </a:lnTo>
                <a:lnTo>
                  <a:pt x="1794" y="912"/>
                </a:lnTo>
                <a:lnTo>
                  <a:pt x="1788" y="918"/>
                </a:lnTo>
                <a:lnTo>
                  <a:pt x="1788" y="924"/>
                </a:lnTo>
                <a:lnTo>
                  <a:pt x="1782" y="924"/>
                </a:lnTo>
                <a:lnTo>
                  <a:pt x="1782" y="930"/>
                </a:lnTo>
                <a:lnTo>
                  <a:pt x="1788" y="930"/>
                </a:lnTo>
                <a:lnTo>
                  <a:pt x="1788" y="936"/>
                </a:lnTo>
                <a:lnTo>
                  <a:pt x="1794" y="936"/>
                </a:lnTo>
                <a:lnTo>
                  <a:pt x="1794" y="942"/>
                </a:lnTo>
                <a:lnTo>
                  <a:pt x="1800" y="942"/>
                </a:lnTo>
                <a:lnTo>
                  <a:pt x="1800" y="948"/>
                </a:lnTo>
                <a:lnTo>
                  <a:pt x="1794" y="948"/>
                </a:lnTo>
                <a:lnTo>
                  <a:pt x="1794" y="942"/>
                </a:lnTo>
                <a:lnTo>
                  <a:pt x="1788" y="942"/>
                </a:lnTo>
                <a:lnTo>
                  <a:pt x="1788" y="948"/>
                </a:lnTo>
                <a:lnTo>
                  <a:pt x="1782" y="948"/>
                </a:lnTo>
                <a:lnTo>
                  <a:pt x="1782" y="954"/>
                </a:lnTo>
                <a:lnTo>
                  <a:pt x="1776" y="954"/>
                </a:lnTo>
                <a:lnTo>
                  <a:pt x="1770" y="954"/>
                </a:lnTo>
                <a:lnTo>
                  <a:pt x="1770" y="960"/>
                </a:lnTo>
                <a:lnTo>
                  <a:pt x="1770" y="966"/>
                </a:lnTo>
                <a:lnTo>
                  <a:pt x="1770" y="972"/>
                </a:lnTo>
                <a:lnTo>
                  <a:pt x="1770" y="978"/>
                </a:lnTo>
                <a:lnTo>
                  <a:pt x="1776" y="978"/>
                </a:lnTo>
                <a:lnTo>
                  <a:pt x="1776" y="984"/>
                </a:lnTo>
                <a:lnTo>
                  <a:pt x="1776" y="990"/>
                </a:lnTo>
                <a:lnTo>
                  <a:pt x="1770" y="990"/>
                </a:lnTo>
                <a:lnTo>
                  <a:pt x="1764" y="990"/>
                </a:lnTo>
                <a:lnTo>
                  <a:pt x="1764" y="996"/>
                </a:lnTo>
                <a:lnTo>
                  <a:pt x="1758" y="996"/>
                </a:lnTo>
                <a:lnTo>
                  <a:pt x="1758" y="990"/>
                </a:lnTo>
                <a:lnTo>
                  <a:pt x="1758" y="984"/>
                </a:lnTo>
                <a:lnTo>
                  <a:pt x="1764" y="984"/>
                </a:lnTo>
                <a:lnTo>
                  <a:pt x="1758" y="984"/>
                </a:lnTo>
                <a:lnTo>
                  <a:pt x="1758" y="990"/>
                </a:lnTo>
                <a:lnTo>
                  <a:pt x="1752" y="990"/>
                </a:lnTo>
                <a:lnTo>
                  <a:pt x="1752" y="984"/>
                </a:lnTo>
                <a:lnTo>
                  <a:pt x="1746" y="984"/>
                </a:lnTo>
                <a:lnTo>
                  <a:pt x="1740" y="984"/>
                </a:lnTo>
                <a:lnTo>
                  <a:pt x="1734" y="984"/>
                </a:lnTo>
                <a:lnTo>
                  <a:pt x="1728" y="984"/>
                </a:lnTo>
                <a:lnTo>
                  <a:pt x="1728" y="990"/>
                </a:lnTo>
                <a:lnTo>
                  <a:pt x="1728" y="996"/>
                </a:lnTo>
                <a:lnTo>
                  <a:pt x="1722" y="996"/>
                </a:lnTo>
                <a:lnTo>
                  <a:pt x="1722" y="990"/>
                </a:lnTo>
                <a:lnTo>
                  <a:pt x="1716" y="990"/>
                </a:lnTo>
                <a:lnTo>
                  <a:pt x="1710" y="984"/>
                </a:lnTo>
                <a:lnTo>
                  <a:pt x="1710" y="978"/>
                </a:lnTo>
                <a:lnTo>
                  <a:pt x="1704" y="978"/>
                </a:lnTo>
                <a:lnTo>
                  <a:pt x="1698" y="978"/>
                </a:lnTo>
                <a:lnTo>
                  <a:pt x="1692" y="978"/>
                </a:lnTo>
                <a:lnTo>
                  <a:pt x="1686" y="978"/>
                </a:lnTo>
                <a:lnTo>
                  <a:pt x="1686" y="972"/>
                </a:lnTo>
                <a:lnTo>
                  <a:pt x="1680" y="972"/>
                </a:lnTo>
                <a:lnTo>
                  <a:pt x="1680" y="966"/>
                </a:lnTo>
                <a:lnTo>
                  <a:pt x="1674" y="966"/>
                </a:lnTo>
                <a:lnTo>
                  <a:pt x="1668" y="972"/>
                </a:lnTo>
                <a:lnTo>
                  <a:pt x="1662" y="978"/>
                </a:lnTo>
                <a:lnTo>
                  <a:pt x="1656" y="990"/>
                </a:lnTo>
                <a:lnTo>
                  <a:pt x="1662" y="990"/>
                </a:lnTo>
                <a:lnTo>
                  <a:pt x="1662" y="996"/>
                </a:lnTo>
                <a:lnTo>
                  <a:pt x="1668" y="996"/>
                </a:lnTo>
                <a:lnTo>
                  <a:pt x="1662" y="1002"/>
                </a:lnTo>
                <a:lnTo>
                  <a:pt x="1668" y="1002"/>
                </a:lnTo>
                <a:lnTo>
                  <a:pt x="1662" y="1002"/>
                </a:lnTo>
                <a:lnTo>
                  <a:pt x="1668" y="1002"/>
                </a:lnTo>
                <a:lnTo>
                  <a:pt x="1668" y="1008"/>
                </a:lnTo>
                <a:lnTo>
                  <a:pt x="1668" y="1014"/>
                </a:lnTo>
                <a:lnTo>
                  <a:pt x="1668" y="1020"/>
                </a:lnTo>
                <a:lnTo>
                  <a:pt x="1668" y="1026"/>
                </a:lnTo>
                <a:lnTo>
                  <a:pt x="1668" y="1032"/>
                </a:lnTo>
                <a:lnTo>
                  <a:pt x="1662" y="1032"/>
                </a:lnTo>
                <a:lnTo>
                  <a:pt x="1662" y="1038"/>
                </a:lnTo>
                <a:lnTo>
                  <a:pt x="1656" y="1038"/>
                </a:lnTo>
                <a:lnTo>
                  <a:pt x="1656" y="1044"/>
                </a:lnTo>
                <a:lnTo>
                  <a:pt x="1650" y="1044"/>
                </a:lnTo>
                <a:lnTo>
                  <a:pt x="1650" y="1050"/>
                </a:lnTo>
                <a:lnTo>
                  <a:pt x="1644" y="1044"/>
                </a:lnTo>
                <a:lnTo>
                  <a:pt x="1644" y="1038"/>
                </a:lnTo>
                <a:lnTo>
                  <a:pt x="1638" y="1038"/>
                </a:lnTo>
                <a:lnTo>
                  <a:pt x="1632" y="1038"/>
                </a:lnTo>
                <a:lnTo>
                  <a:pt x="1632" y="1032"/>
                </a:lnTo>
                <a:lnTo>
                  <a:pt x="1626" y="1032"/>
                </a:lnTo>
                <a:lnTo>
                  <a:pt x="1626" y="1038"/>
                </a:lnTo>
                <a:lnTo>
                  <a:pt x="1620" y="1038"/>
                </a:lnTo>
                <a:lnTo>
                  <a:pt x="1614" y="1032"/>
                </a:lnTo>
                <a:lnTo>
                  <a:pt x="1608" y="1032"/>
                </a:lnTo>
                <a:lnTo>
                  <a:pt x="1602" y="1032"/>
                </a:lnTo>
                <a:lnTo>
                  <a:pt x="1602" y="1026"/>
                </a:lnTo>
                <a:lnTo>
                  <a:pt x="1602" y="1020"/>
                </a:lnTo>
                <a:lnTo>
                  <a:pt x="1596" y="1020"/>
                </a:lnTo>
                <a:lnTo>
                  <a:pt x="1590" y="1020"/>
                </a:lnTo>
                <a:lnTo>
                  <a:pt x="1584" y="1020"/>
                </a:lnTo>
                <a:lnTo>
                  <a:pt x="1578" y="1020"/>
                </a:lnTo>
                <a:lnTo>
                  <a:pt x="1578" y="1026"/>
                </a:lnTo>
                <a:lnTo>
                  <a:pt x="1578" y="1032"/>
                </a:lnTo>
                <a:lnTo>
                  <a:pt x="1572" y="1032"/>
                </a:lnTo>
                <a:lnTo>
                  <a:pt x="1572" y="1038"/>
                </a:lnTo>
                <a:lnTo>
                  <a:pt x="1578" y="1038"/>
                </a:lnTo>
                <a:lnTo>
                  <a:pt x="1578" y="1044"/>
                </a:lnTo>
                <a:lnTo>
                  <a:pt x="1572" y="1044"/>
                </a:lnTo>
                <a:lnTo>
                  <a:pt x="1572" y="1050"/>
                </a:lnTo>
                <a:lnTo>
                  <a:pt x="1572" y="1056"/>
                </a:lnTo>
                <a:lnTo>
                  <a:pt x="1566" y="1056"/>
                </a:lnTo>
                <a:lnTo>
                  <a:pt x="1566" y="1062"/>
                </a:lnTo>
                <a:lnTo>
                  <a:pt x="1560" y="1062"/>
                </a:lnTo>
                <a:lnTo>
                  <a:pt x="1560" y="1068"/>
                </a:lnTo>
                <a:lnTo>
                  <a:pt x="1554" y="1068"/>
                </a:lnTo>
                <a:lnTo>
                  <a:pt x="1548" y="1068"/>
                </a:lnTo>
                <a:lnTo>
                  <a:pt x="1542" y="1068"/>
                </a:lnTo>
                <a:lnTo>
                  <a:pt x="1536" y="1068"/>
                </a:lnTo>
                <a:lnTo>
                  <a:pt x="1536" y="1074"/>
                </a:lnTo>
                <a:lnTo>
                  <a:pt x="1530" y="1080"/>
                </a:lnTo>
                <a:lnTo>
                  <a:pt x="1530" y="1086"/>
                </a:lnTo>
                <a:lnTo>
                  <a:pt x="1524" y="1086"/>
                </a:lnTo>
                <a:lnTo>
                  <a:pt x="1518" y="1086"/>
                </a:lnTo>
                <a:lnTo>
                  <a:pt x="1518" y="1092"/>
                </a:lnTo>
                <a:lnTo>
                  <a:pt x="1518" y="1086"/>
                </a:lnTo>
                <a:lnTo>
                  <a:pt x="1512" y="1086"/>
                </a:lnTo>
                <a:lnTo>
                  <a:pt x="1512" y="1080"/>
                </a:lnTo>
                <a:lnTo>
                  <a:pt x="1506" y="1080"/>
                </a:lnTo>
                <a:lnTo>
                  <a:pt x="1506" y="1074"/>
                </a:lnTo>
                <a:lnTo>
                  <a:pt x="1506" y="1068"/>
                </a:lnTo>
                <a:lnTo>
                  <a:pt x="1506" y="1062"/>
                </a:lnTo>
                <a:lnTo>
                  <a:pt x="1500" y="1062"/>
                </a:lnTo>
                <a:lnTo>
                  <a:pt x="1494" y="1062"/>
                </a:lnTo>
                <a:lnTo>
                  <a:pt x="1494" y="1068"/>
                </a:lnTo>
                <a:lnTo>
                  <a:pt x="1488" y="1068"/>
                </a:lnTo>
                <a:lnTo>
                  <a:pt x="1488" y="1074"/>
                </a:lnTo>
                <a:lnTo>
                  <a:pt x="1488" y="1080"/>
                </a:lnTo>
                <a:lnTo>
                  <a:pt x="1482" y="1086"/>
                </a:lnTo>
                <a:lnTo>
                  <a:pt x="1476" y="1086"/>
                </a:lnTo>
                <a:lnTo>
                  <a:pt x="1476" y="1092"/>
                </a:lnTo>
                <a:lnTo>
                  <a:pt x="1470" y="1086"/>
                </a:lnTo>
                <a:lnTo>
                  <a:pt x="1464" y="1086"/>
                </a:lnTo>
                <a:lnTo>
                  <a:pt x="1458" y="1086"/>
                </a:lnTo>
                <a:lnTo>
                  <a:pt x="1452" y="1086"/>
                </a:lnTo>
                <a:lnTo>
                  <a:pt x="1446" y="1086"/>
                </a:lnTo>
                <a:lnTo>
                  <a:pt x="1440" y="1080"/>
                </a:lnTo>
                <a:lnTo>
                  <a:pt x="1434" y="1080"/>
                </a:lnTo>
                <a:lnTo>
                  <a:pt x="1428" y="1080"/>
                </a:lnTo>
                <a:lnTo>
                  <a:pt x="1422" y="1080"/>
                </a:lnTo>
                <a:lnTo>
                  <a:pt x="1422" y="1086"/>
                </a:lnTo>
                <a:lnTo>
                  <a:pt x="1422" y="1092"/>
                </a:lnTo>
                <a:lnTo>
                  <a:pt x="1422" y="1098"/>
                </a:lnTo>
                <a:lnTo>
                  <a:pt x="1416" y="1098"/>
                </a:lnTo>
                <a:lnTo>
                  <a:pt x="1416" y="1104"/>
                </a:lnTo>
                <a:lnTo>
                  <a:pt x="1410" y="1104"/>
                </a:lnTo>
                <a:lnTo>
                  <a:pt x="1404" y="1104"/>
                </a:lnTo>
                <a:lnTo>
                  <a:pt x="1398" y="1104"/>
                </a:lnTo>
                <a:lnTo>
                  <a:pt x="1392" y="1104"/>
                </a:lnTo>
                <a:lnTo>
                  <a:pt x="1386" y="1104"/>
                </a:lnTo>
                <a:lnTo>
                  <a:pt x="1380" y="1098"/>
                </a:lnTo>
                <a:lnTo>
                  <a:pt x="1380" y="1092"/>
                </a:lnTo>
                <a:lnTo>
                  <a:pt x="1374" y="1092"/>
                </a:lnTo>
                <a:lnTo>
                  <a:pt x="1368" y="1092"/>
                </a:lnTo>
                <a:lnTo>
                  <a:pt x="1368" y="1098"/>
                </a:lnTo>
                <a:lnTo>
                  <a:pt x="1368" y="1104"/>
                </a:lnTo>
                <a:lnTo>
                  <a:pt x="1362" y="1104"/>
                </a:lnTo>
                <a:lnTo>
                  <a:pt x="1356" y="1104"/>
                </a:lnTo>
                <a:lnTo>
                  <a:pt x="1350" y="1104"/>
                </a:lnTo>
                <a:lnTo>
                  <a:pt x="1350" y="1110"/>
                </a:lnTo>
                <a:lnTo>
                  <a:pt x="1350" y="1116"/>
                </a:lnTo>
                <a:lnTo>
                  <a:pt x="1344" y="1116"/>
                </a:lnTo>
                <a:lnTo>
                  <a:pt x="1344" y="1122"/>
                </a:lnTo>
                <a:lnTo>
                  <a:pt x="1338" y="1122"/>
                </a:lnTo>
                <a:lnTo>
                  <a:pt x="1332" y="1122"/>
                </a:lnTo>
                <a:lnTo>
                  <a:pt x="1326" y="1128"/>
                </a:lnTo>
                <a:lnTo>
                  <a:pt x="1326" y="1122"/>
                </a:lnTo>
                <a:lnTo>
                  <a:pt x="1326" y="1128"/>
                </a:lnTo>
                <a:lnTo>
                  <a:pt x="1320" y="1134"/>
                </a:lnTo>
                <a:lnTo>
                  <a:pt x="1314" y="1134"/>
                </a:lnTo>
                <a:lnTo>
                  <a:pt x="1308" y="1134"/>
                </a:lnTo>
                <a:lnTo>
                  <a:pt x="1308" y="1140"/>
                </a:lnTo>
                <a:lnTo>
                  <a:pt x="1302" y="1140"/>
                </a:lnTo>
                <a:lnTo>
                  <a:pt x="1302" y="1146"/>
                </a:lnTo>
                <a:lnTo>
                  <a:pt x="1308" y="1146"/>
                </a:lnTo>
                <a:lnTo>
                  <a:pt x="1308" y="1152"/>
                </a:lnTo>
                <a:lnTo>
                  <a:pt x="1308" y="1158"/>
                </a:lnTo>
                <a:lnTo>
                  <a:pt x="1302" y="1158"/>
                </a:lnTo>
                <a:lnTo>
                  <a:pt x="1302" y="1164"/>
                </a:lnTo>
                <a:lnTo>
                  <a:pt x="1308" y="1164"/>
                </a:lnTo>
                <a:lnTo>
                  <a:pt x="1308" y="1170"/>
                </a:lnTo>
                <a:lnTo>
                  <a:pt x="1314" y="1176"/>
                </a:lnTo>
                <a:lnTo>
                  <a:pt x="1314" y="1182"/>
                </a:lnTo>
                <a:lnTo>
                  <a:pt x="1314" y="1188"/>
                </a:lnTo>
                <a:lnTo>
                  <a:pt x="1320" y="1188"/>
                </a:lnTo>
                <a:lnTo>
                  <a:pt x="1320" y="1194"/>
                </a:lnTo>
                <a:lnTo>
                  <a:pt x="1326" y="1194"/>
                </a:lnTo>
                <a:lnTo>
                  <a:pt x="1326" y="1200"/>
                </a:lnTo>
                <a:lnTo>
                  <a:pt x="1332" y="1206"/>
                </a:lnTo>
                <a:lnTo>
                  <a:pt x="1326" y="1206"/>
                </a:lnTo>
                <a:lnTo>
                  <a:pt x="1326" y="1212"/>
                </a:lnTo>
                <a:lnTo>
                  <a:pt x="1326" y="1218"/>
                </a:lnTo>
                <a:lnTo>
                  <a:pt x="1326" y="1224"/>
                </a:lnTo>
                <a:lnTo>
                  <a:pt x="1320" y="1224"/>
                </a:lnTo>
                <a:lnTo>
                  <a:pt x="1320" y="1230"/>
                </a:lnTo>
                <a:lnTo>
                  <a:pt x="1320" y="1236"/>
                </a:lnTo>
                <a:lnTo>
                  <a:pt x="1314" y="1236"/>
                </a:lnTo>
                <a:lnTo>
                  <a:pt x="1308" y="1236"/>
                </a:lnTo>
                <a:lnTo>
                  <a:pt x="1308" y="1242"/>
                </a:lnTo>
                <a:lnTo>
                  <a:pt x="1308" y="1236"/>
                </a:lnTo>
                <a:lnTo>
                  <a:pt x="1302" y="1242"/>
                </a:lnTo>
                <a:lnTo>
                  <a:pt x="1302" y="1248"/>
                </a:lnTo>
                <a:lnTo>
                  <a:pt x="1308" y="1248"/>
                </a:lnTo>
                <a:lnTo>
                  <a:pt x="1314" y="1248"/>
                </a:lnTo>
                <a:lnTo>
                  <a:pt x="1314" y="1254"/>
                </a:lnTo>
                <a:lnTo>
                  <a:pt x="1314" y="1248"/>
                </a:lnTo>
                <a:lnTo>
                  <a:pt x="1320" y="1254"/>
                </a:lnTo>
                <a:lnTo>
                  <a:pt x="1320" y="1248"/>
                </a:lnTo>
                <a:lnTo>
                  <a:pt x="1326" y="1248"/>
                </a:lnTo>
                <a:lnTo>
                  <a:pt x="1332" y="1248"/>
                </a:lnTo>
                <a:lnTo>
                  <a:pt x="1332" y="1242"/>
                </a:lnTo>
                <a:lnTo>
                  <a:pt x="1332" y="1248"/>
                </a:lnTo>
                <a:lnTo>
                  <a:pt x="1332" y="1242"/>
                </a:lnTo>
                <a:lnTo>
                  <a:pt x="1332" y="1248"/>
                </a:lnTo>
                <a:lnTo>
                  <a:pt x="1332" y="1242"/>
                </a:lnTo>
                <a:lnTo>
                  <a:pt x="1338" y="1242"/>
                </a:lnTo>
                <a:lnTo>
                  <a:pt x="1338" y="1248"/>
                </a:lnTo>
                <a:lnTo>
                  <a:pt x="1338" y="1242"/>
                </a:lnTo>
                <a:lnTo>
                  <a:pt x="1344" y="1242"/>
                </a:lnTo>
                <a:lnTo>
                  <a:pt x="1344" y="1248"/>
                </a:lnTo>
                <a:lnTo>
                  <a:pt x="1350" y="1248"/>
                </a:lnTo>
                <a:lnTo>
                  <a:pt x="1356" y="1248"/>
                </a:lnTo>
                <a:lnTo>
                  <a:pt x="1356" y="1254"/>
                </a:lnTo>
                <a:lnTo>
                  <a:pt x="1356" y="1260"/>
                </a:lnTo>
                <a:lnTo>
                  <a:pt x="1362" y="1260"/>
                </a:lnTo>
                <a:lnTo>
                  <a:pt x="1362" y="1266"/>
                </a:lnTo>
                <a:lnTo>
                  <a:pt x="1362" y="1272"/>
                </a:lnTo>
                <a:lnTo>
                  <a:pt x="1362" y="1278"/>
                </a:lnTo>
                <a:lnTo>
                  <a:pt x="1356" y="1278"/>
                </a:lnTo>
                <a:lnTo>
                  <a:pt x="1356" y="1284"/>
                </a:lnTo>
                <a:lnTo>
                  <a:pt x="1350" y="1284"/>
                </a:lnTo>
                <a:lnTo>
                  <a:pt x="1350" y="1290"/>
                </a:lnTo>
                <a:lnTo>
                  <a:pt x="1344" y="1290"/>
                </a:lnTo>
                <a:lnTo>
                  <a:pt x="1344" y="1284"/>
                </a:lnTo>
                <a:lnTo>
                  <a:pt x="1344" y="1290"/>
                </a:lnTo>
                <a:lnTo>
                  <a:pt x="1338" y="1290"/>
                </a:lnTo>
                <a:lnTo>
                  <a:pt x="1338" y="1296"/>
                </a:lnTo>
                <a:lnTo>
                  <a:pt x="1332" y="1296"/>
                </a:lnTo>
                <a:lnTo>
                  <a:pt x="1326" y="1296"/>
                </a:lnTo>
                <a:lnTo>
                  <a:pt x="1326" y="1302"/>
                </a:lnTo>
                <a:lnTo>
                  <a:pt x="1320" y="1308"/>
                </a:lnTo>
                <a:lnTo>
                  <a:pt x="1314" y="1308"/>
                </a:lnTo>
                <a:lnTo>
                  <a:pt x="1314" y="1314"/>
                </a:lnTo>
                <a:lnTo>
                  <a:pt x="1314" y="1320"/>
                </a:lnTo>
                <a:lnTo>
                  <a:pt x="1314" y="1326"/>
                </a:lnTo>
                <a:lnTo>
                  <a:pt x="1314" y="1320"/>
                </a:lnTo>
                <a:lnTo>
                  <a:pt x="1320" y="1320"/>
                </a:lnTo>
                <a:lnTo>
                  <a:pt x="1320" y="1326"/>
                </a:lnTo>
                <a:lnTo>
                  <a:pt x="1326" y="1326"/>
                </a:lnTo>
                <a:lnTo>
                  <a:pt x="1332" y="1326"/>
                </a:lnTo>
                <a:lnTo>
                  <a:pt x="1332" y="1332"/>
                </a:lnTo>
                <a:lnTo>
                  <a:pt x="1332" y="1338"/>
                </a:lnTo>
                <a:lnTo>
                  <a:pt x="1338" y="1338"/>
                </a:lnTo>
                <a:lnTo>
                  <a:pt x="1338" y="1344"/>
                </a:lnTo>
                <a:lnTo>
                  <a:pt x="1344" y="1344"/>
                </a:lnTo>
                <a:lnTo>
                  <a:pt x="1350" y="1344"/>
                </a:lnTo>
                <a:lnTo>
                  <a:pt x="1350" y="1350"/>
                </a:lnTo>
                <a:lnTo>
                  <a:pt x="1344" y="1356"/>
                </a:lnTo>
                <a:lnTo>
                  <a:pt x="1338" y="1356"/>
                </a:lnTo>
                <a:lnTo>
                  <a:pt x="1338" y="1362"/>
                </a:lnTo>
                <a:lnTo>
                  <a:pt x="1338" y="1368"/>
                </a:lnTo>
                <a:lnTo>
                  <a:pt x="1332" y="1368"/>
                </a:lnTo>
                <a:lnTo>
                  <a:pt x="1332" y="1374"/>
                </a:lnTo>
                <a:lnTo>
                  <a:pt x="1332" y="1380"/>
                </a:lnTo>
                <a:lnTo>
                  <a:pt x="1332" y="1374"/>
                </a:lnTo>
                <a:lnTo>
                  <a:pt x="1326" y="1374"/>
                </a:lnTo>
                <a:lnTo>
                  <a:pt x="1326" y="1380"/>
                </a:lnTo>
                <a:lnTo>
                  <a:pt x="1326" y="1386"/>
                </a:lnTo>
                <a:lnTo>
                  <a:pt x="1326" y="1392"/>
                </a:lnTo>
                <a:lnTo>
                  <a:pt x="1320" y="1392"/>
                </a:lnTo>
                <a:lnTo>
                  <a:pt x="1320" y="1398"/>
                </a:lnTo>
                <a:lnTo>
                  <a:pt x="1314" y="1398"/>
                </a:lnTo>
                <a:lnTo>
                  <a:pt x="1308" y="1398"/>
                </a:lnTo>
                <a:lnTo>
                  <a:pt x="1302" y="1398"/>
                </a:lnTo>
                <a:lnTo>
                  <a:pt x="1302" y="1404"/>
                </a:lnTo>
                <a:lnTo>
                  <a:pt x="1296" y="1404"/>
                </a:lnTo>
                <a:lnTo>
                  <a:pt x="1296" y="1410"/>
                </a:lnTo>
                <a:lnTo>
                  <a:pt x="1290" y="1410"/>
                </a:lnTo>
                <a:lnTo>
                  <a:pt x="1290" y="1416"/>
                </a:lnTo>
                <a:lnTo>
                  <a:pt x="1290" y="1422"/>
                </a:lnTo>
                <a:lnTo>
                  <a:pt x="1290" y="1428"/>
                </a:lnTo>
                <a:lnTo>
                  <a:pt x="1290" y="1434"/>
                </a:lnTo>
                <a:lnTo>
                  <a:pt x="1284" y="1434"/>
                </a:lnTo>
                <a:lnTo>
                  <a:pt x="1278" y="1428"/>
                </a:lnTo>
                <a:lnTo>
                  <a:pt x="1272" y="1422"/>
                </a:lnTo>
                <a:lnTo>
                  <a:pt x="1272" y="1416"/>
                </a:lnTo>
                <a:lnTo>
                  <a:pt x="1266" y="1416"/>
                </a:lnTo>
                <a:lnTo>
                  <a:pt x="1260" y="1416"/>
                </a:lnTo>
                <a:lnTo>
                  <a:pt x="1254" y="1410"/>
                </a:lnTo>
                <a:lnTo>
                  <a:pt x="1248" y="1410"/>
                </a:lnTo>
                <a:lnTo>
                  <a:pt x="1242" y="1410"/>
                </a:lnTo>
                <a:lnTo>
                  <a:pt x="1236" y="1404"/>
                </a:lnTo>
                <a:lnTo>
                  <a:pt x="1230" y="1404"/>
                </a:lnTo>
                <a:lnTo>
                  <a:pt x="1230" y="1410"/>
                </a:lnTo>
                <a:lnTo>
                  <a:pt x="1230" y="1416"/>
                </a:lnTo>
                <a:lnTo>
                  <a:pt x="1230" y="1422"/>
                </a:lnTo>
                <a:lnTo>
                  <a:pt x="1230" y="1428"/>
                </a:lnTo>
                <a:lnTo>
                  <a:pt x="1230" y="1434"/>
                </a:lnTo>
                <a:lnTo>
                  <a:pt x="1224" y="1434"/>
                </a:lnTo>
                <a:lnTo>
                  <a:pt x="1224" y="1440"/>
                </a:lnTo>
                <a:lnTo>
                  <a:pt x="1230" y="1440"/>
                </a:lnTo>
                <a:lnTo>
                  <a:pt x="1236" y="1446"/>
                </a:lnTo>
                <a:lnTo>
                  <a:pt x="1242" y="1452"/>
                </a:lnTo>
                <a:lnTo>
                  <a:pt x="1242" y="1458"/>
                </a:lnTo>
                <a:lnTo>
                  <a:pt x="1248" y="1464"/>
                </a:lnTo>
                <a:lnTo>
                  <a:pt x="1254" y="1464"/>
                </a:lnTo>
                <a:lnTo>
                  <a:pt x="1260" y="1464"/>
                </a:lnTo>
                <a:lnTo>
                  <a:pt x="1260" y="1470"/>
                </a:lnTo>
                <a:lnTo>
                  <a:pt x="1266" y="1470"/>
                </a:lnTo>
                <a:lnTo>
                  <a:pt x="1272" y="1470"/>
                </a:lnTo>
                <a:lnTo>
                  <a:pt x="1278" y="1470"/>
                </a:lnTo>
                <a:lnTo>
                  <a:pt x="1284" y="1476"/>
                </a:lnTo>
                <a:lnTo>
                  <a:pt x="1290" y="1476"/>
                </a:lnTo>
                <a:lnTo>
                  <a:pt x="1296" y="1476"/>
                </a:lnTo>
                <a:lnTo>
                  <a:pt x="1296" y="1470"/>
                </a:lnTo>
                <a:lnTo>
                  <a:pt x="1302" y="1470"/>
                </a:lnTo>
                <a:lnTo>
                  <a:pt x="1308" y="1464"/>
                </a:lnTo>
                <a:lnTo>
                  <a:pt x="1314" y="1464"/>
                </a:lnTo>
                <a:lnTo>
                  <a:pt x="1320" y="1458"/>
                </a:lnTo>
                <a:lnTo>
                  <a:pt x="1320" y="1464"/>
                </a:lnTo>
                <a:lnTo>
                  <a:pt x="1326" y="1464"/>
                </a:lnTo>
                <a:lnTo>
                  <a:pt x="1332" y="1464"/>
                </a:lnTo>
                <a:lnTo>
                  <a:pt x="1332" y="1470"/>
                </a:lnTo>
                <a:lnTo>
                  <a:pt x="1332" y="1476"/>
                </a:lnTo>
                <a:lnTo>
                  <a:pt x="1338" y="1476"/>
                </a:lnTo>
                <a:lnTo>
                  <a:pt x="1338" y="1482"/>
                </a:lnTo>
                <a:lnTo>
                  <a:pt x="1338" y="1488"/>
                </a:lnTo>
                <a:lnTo>
                  <a:pt x="1344" y="1488"/>
                </a:lnTo>
                <a:lnTo>
                  <a:pt x="1344" y="1494"/>
                </a:lnTo>
                <a:lnTo>
                  <a:pt x="1350" y="1500"/>
                </a:lnTo>
                <a:lnTo>
                  <a:pt x="1350" y="1506"/>
                </a:lnTo>
                <a:lnTo>
                  <a:pt x="1350" y="1512"/>
                </a:lnTo>
                <a:lnTo>
                  <a:pt x="1350" y="1518"/>
                </a:lnTo>
                <a:lnTo>
                  <a:pt x="1350" y="1524"/>
                </a:lnTo>
                <a:lnTo>
                  <a:pt x="1356" y="1524"/>
                </a:lnTo>
                <a:lnTo>
                  <a:pt x="1356" y="1530"/>
                </a:lnTo>
                <a:lnTo>
                  <a:pt x="1362" y="1530"/>
                </a:lnTo>
                <a:lnTo>
                  <a:pt x="1362" y="1536"/>
                </a:lnTo>
                <a:lnTo>
                  <a:pt x="1362" y="1542"/>
                </a:lnTo>
                <a:lnTo>
                  <a:pt x="1362" y="1548"/>
                </a:lnTo>
                <a:lnTo>
                  <a:pt x="1362" y="1554"/>
                </a:lnTo>
                <a:lnTo>
                  <a:pt x="1362" y="1560"/>
                </a:lnTo>
                <a:lnTo>
                  <a:pt x="1362" y="1566"/>
                </a:lnTo>
                <a:lnTo>
                  <a:pt x="1356" y="1566"/>
                </a:lnTo>
                <a:lnTo>
                  <a:pt x="1356" y="1572"/>
                </a:lnTo>
                <a:lnTo>
                  <a:pt x="1356" y="1578"/>
                </a:lnTo>
                <a:lnTo>
                  <a:pt x="1356" y="1572"/>
                </a:lnTo>
                <a:lnTo>
                  <a:pt x="1350" y="1572"/>
                </a:lnTo>
                <a:lnTo>
                  <a:pt x="1344" y="1572"/>
                </a:lnTo>
                <a:lnTo>
                  <a:pt x="1338" y="1572"/>
                </a:lnTo>
                <a:lnTo>
                  <a:pt x="1338" y="1578"/>
                </a:lnTo>
                <a:lnTo>
                  <a:pt x="1332" y="1578"/>
                </a:lnTo>
                <a:lnTo>
                  <a:pt x="1332" y="1584"/>
                </a:lnTo>
                <a:lnTo>
                  <a:pt x="1326" y="1584"/>
                </a:lnTo>
                <a:lnTo>
                  <a:pt x="1320" y="1584"/>
                </a:lnTo>
                <a:lnTo>
                  <a:pt x="1320" y="1590"/>
                </a:lnTo>
                <a:lnTo>
                  <a:pt x="1320" y="1596"/>
                </a:lnTo>
                <a:lnTo>
                  <a:pt x="1326" y="1602"/>
                </a:lnTo>
                <a:lnTo>
                  <a:pt x="1332" y="1602"/>
                </a:lnTo>
                <a:lnTo>
                  <a:pt x="1332" y="1596"/>
                </a:lnTo>
                <a:lnTo>
                  <a:pt x="1332" y="1602"/>
                </a:lnTo>
                <a:lnTo>
                  <a:pt x="1338" y="1602"/>
                </a:lnTo>
                <a:lnTo>
                  <a:pt x="1338" y="1608"/>
                </a:lnTo>
                <a:lnTo>
                  <a:pt x="1344" y="1614"/>
                </a:lnTo>
                <a:lnTo>
                  <a:pt x="1344" y="1608"/>
                </a:lnTo>
                <a:lnTo>
                  <a:pt x="1350" y="1608"/>
                </a:lnTo>
                <a:lnTo>
                  <a:pt x="1350" y="1614"/>
                </a:lnTo>
                <a:lnTo>
                  <a:pt x="1356" y="1608"/>
                </a:lnTo>
                <a:lnTo>
                  <a:pt x="1362" y="1608"/>
                </a:lnTo>
                <a:lnTo>
                  <a:pt x="1362" y="1614"/>
                </a:lnTo>
                <a:lnTo>
                  <a:pt x="1362" y="1620"/>
                </a:lnTo>
                <a:lnTo>
                  <a:pt x="1368" y="1620"/>
                </a:lnTo>
                <a:lnTo>
                  <a:pt x="1368" y="1626"/>
                </a:lnTo>
                <a:lnTo>
                  <a:pt x="1362" y="1632"/>
                </a:lnTo>
                <a:lnTo>
                  <a:pt x="1362" y="1638"/>
                </a:lnTo>
                <a:lnTo>
                  <a:pt x="1356" y="1638"/>
                </a:lnTo>
                <a:lnTo>
                  <a:pt x="1356" y="1644"/>
                </a:lnTo>
                <a:lnTo>
                  <a:pt x="1362" y="1644"/>
                </a:lnTo>
                <a:lnTo>
                  <a:pt x="1368" y="1644"/>
                </a:lnTo>
                <a:lnTo>
                  <a:pt x="1362" y="1650"/>
                </a:lnTo>
                <a:lnTo>
                  <a:pt x="1362" y="1656"/>
                </a:lnTo>
                <a:lnTo>
                  <a:pt x="1362" y="1662"/>
                </a:lnTo>
                <a:lnTo>
                  <a:pt x="1362" y="1668"/>
                </a:lnTo>
                <a:lnTo>
                  <a:pt x="1356" y="1668"/>
                </a:lnTo>
                <a:lnTo>
                  <a:pt x="1356" y="1674"/>
                </a:lnTo>
                <a:lnTo>
                  <a:pt x="1350" y="1674"/>
                </a:lnTo>
                <a:lnTo>
                  <a:pt x="1344" y="1674"/>
                </a:lnTo>
                <a:lnTo>
                  <a:pt x="1344" y="1680"/>
                </a:lnTo>
                <a:lnTo>
                  <a:pt x="1350" y="1686"/>
                </a:lnTo>
                <a:lnTo>
                  <a:pt x="1350" y="1680"/>
                </a:lnTo>
                <a:lnTo>
                  <a:pt x="1356" y="1680"/>
                </a:lnTo>
                <a:lnTo>
                  <a:pt x="1356" y="1674"/>
                </a:lnTo>
                <a:lnTo>
                  <a:pt x="1362" y="1674"/>
                </a:lnTo>
                <a:lnTo>
                  <a:pt x="1362" y="1680"/>
                </a:lnTo>
                <a:lnTo>
                  <a:pt x="1368" y="1686"/>
                </a:lnTo>
                <a:lnTo>
                  <a:pt x="1368" y="1680"/>
                </a:lnTo>
                <a:lnTo>
                  <a:pt x="1374" y="1680"/>
                </a:lnTo>
                <a:lnTo>
                  <a:pt x="1374" y="1686"/>
                </a:lnTo>
                <a:lnTo>
                  <a:pt x="1380" y="1686"/>
                </a:lnTo>
                <a:lnTo>
                  <a:pt x="1380" y="1692"/>
                </a:lnTo>
                <a:lnTo>
                  <a:pt x="1374" y="1692"/>
                </a:lnTo>
                <a:lnTo>
                  <a:pt x="1368" y="1698"/>
                </a:lnTo>
                <a:lnTo>
                  <a:pt x="1362" y="1698"/>
                </a:lnTo>
                <a:lnTo>
                  <a:pt x="1362" y="1704"/>
                </a:lnTo>
                <a:lnTo>
                  <a:pt x="1362" y="1710"/>
                </a:lnTo>
                <a:lnTo>
                  <a:pt x="1362" y="1716"/>
                </a:lnTo>
                <a:lnTo>
                  <a:pt x="1368" y="1716"/>
                </a:lnTo>
                <a:lnTo>
                  <a:pt x="1368" y="1722"/>
                </a:lnTo>
                <a:lnTo>
                  <a:pt x="1368" y="1728"/>
                </a:lnTo>
                <a:lnTo>
                  <a:pt x="1368" y="1734"/>
                </a:lnTo>
                <a:lnTo>
                  <a:pt x="1362" y="1734"/>
                </a:lnTo>
                <a:lnTo>
                  <a:pt x="1368" y="1740"/>
                </a:lnTo>
                <a:lnTo>
                  <a:pt x="1362" y="1740"/>
                </a:lnTo>
                <a:lnTo>
                  <a:pt x="1362" y="1746"/>
                </a:lnTo>
                <a:lnTo>
                  <a:pt x="1356" y="1746"/>
                </a:lnTo>
                <a:lnTo>
                  <a:pt x="1356" y="1752"/>
                </a:lnTo>
                <a:lnTo>
                  <a:pt x="1356" y="1758"/>
                </a:lnTo>
                <a:lnTo>
                  <a:pt x="1356" y="1764"/>
                </a:lnTo>
                <a:lnTo>
                  <a:pt x="1362" y="1764"/>
                </a:lnTo>
                <a:lnTo>
                  <a:pt x="1368" y="1770"/>
                </a:lnTo>
                <a:lnTo>
                  <a:pt x="1374" y="1770"/>
                </a:lnTo>
                <a:lnTo>
                  <a:pt x="1374" y="1776"/>
                </a:lnTo>
                <a:lnTo>
                  <a:pt x="1380" y="1776"/>
                </a:lnTo>
                <a:lnTo>
                  <a:pt x="1380" y="1782"/>
                </a:lnTo>
                <a:lnTo>
                  <a:pt x="1380" y="1788"/>
                </a:lnTo>
                <a:lnTo>
                  <a:pt x="1374" y="1788"/>
                </a:lnTo>
                <a:lnTo>
                  <a:pt x="1374" y="1794"/>
                </a:lnTo>
                <a:lnTo>
                  <a:pt x="1374" y="1800"/>
                </a:lnTo>
                <a:lnTo>
                  <a:pt x="1374" y="1806"/>
                </a:lnTo>
                <a:lnTo>
                  <a:pt x="1368" y="1806"/>
                </a:lnTo>
                <a:lnTo>
                  <a:pt x="1368" y="1812"/>
                </a:lnTo>
                <a:lnTo>
                  <a:pt x="1368" y="1818"/>
                </a:lnTo>
                <a:lnTo>
                  <a:pt x="1374" y="1824"/>
                </a:lnTo>
                <a:lnTo>
                  <a:pt x="1374" y="1830"/>
                </a:lnTo>
                <a:lnTo>
                  <a:pt x="1374" y="1836"/>
                </a:lnTo>
                <a:lnTo>
                  <a:pt x="1380" y="1836"/>
                </a:lnTo>
                <a:lnTo>
                  <a:pt x="1380" y="1842"/>
                </a:lnTo>
                <a:lnTo>
                  <a:pt x="1380" y="1848"/>
                </a:lnTo>
                <a:lnTo>
                  <a:pt x="1374" y="1848"/>
                </a:lnTo>
                <a:lnTo>
                  <a:pt x="1374" y="1854"/>
                </a:lnTo>
                <a:lnTo>
                  <a:pt x="1368" y="1854"/>
                </a:lnTo>
                <a:lnTo>
                  <a:pt x="1368" y="1860"/>
                </a:lnTo>
                <a:lnTo>
                  <a:pt x="1374" y="1860"/>
                </a:lnTo>
                <a:lnTo>
                  <a:pt x="1374" y="1866"/>
                </a:lnTo>
                <a:lnTo>
                  <a:pt x="1368" y="1866"/>
                </a:lnTo>
                <a:lnTo>
                  <a:pt x="1368" y="1872"/>
                </a:lnTo>
                <a:lnTo>
                  <a:pt x="1374" y="1872"/>
                </a:lnTo>
                <a:lnTo>
                  <a:pt x="1368" y="1872"/>
                </a:lnTo>
                <a:lnTo>
                  <a:pt x="1368" y="1878"/>
                </a:lnTo>
                <a:lnTo>
                  <a:pt x="1362" y="1878"/>
                </a:lnTo>
                <a:lnTo>
                  <a:pt x="1356" y="1878"/>
                </a:lnTo>
                <a:lnTo>
                  <a:pt x="1350" y="1878"/>
                </a:lnTo>
                <a:lnTo>
                  <a:pt x="1350" y="1872"/>
                </a:lnTo>
                <a:lnTo>
                  <a:pt x="1344" y="1878"/>
                </a:lnTo>
                <a:lnTo>
                  <a:pt x="1338" y="1878"/>
                </a:lnTo>
                <a:lnTo>
                  <a:pt x="1332" y="1872"/>
                </a:lnTo>
                <a:lnTo>
                  <a:pt x="1326" y="1866"/>
                </a:lnTo>
                <a:lnTo>
                  <a:pt x="1326" y="1860"/>
                </a:lnTo>
                <a:lnTo>
                  <a:pt x="1320" y="1860"/>
                </a:lnTo>
                <a:lnTo>
                  <a:pt x="1320" y="1854"/>
                </a:lnTo>
                <a:lnTo>
                  <a:pt x="1314" y="1854"/>
                </a:lnTo>
                <a:lnTo>
                  <a:pt x="1308" y="1860"/>
                </a:lnTo>
                <a:lnTo>
                  <a:pt x="1302" y="1860"/>
                </a:lnTo>
                <a:lnTo>
                  <a:pt x="1296" y="1860"/>
                </a:lnTo>
                <a:lnTo>
                  <a:pt x="1290" y="1860"/>
                </a:lnTo>
                <a:lnTo>
                  <a:pt x="1290" y="1866"/>
                </a:lnTo>
                <a:lnTo>
                  <a:pt x="1296" y="1866"/>
                </a:lnTo>
                <a:lnTo>
                  <a:pt x="1296" y="1872"/>
                </a:lnTo>
                <a:lnTo>
                  <a:pt x="1290" y="1872"/>
                </a:lnTo>
                <a:lnTo>
                  <a:pt x="1284" y="1872"/>
                </a:lnTo>
                <a:lnTo>
                  <a:pt x="1278" y="1878"/>
                </a:lnTo>
                <a:lnTo>
                  <a:pt x="1272" y="1878"/>
                </a:lnTo>
                <a:lnTo>
                  <a:pt x="1266" y="1878"/>
                </a:lnTo>
                <a:lnTo>
                  <a:pt x="1266" y="1884"/>
                </a:lnTo>
                <a:lnTo>
                  <a:pt x="1260" y="1884"/>
                </a:lnTo>
                <a:lnTo>
                  <a:pt x="1260" y="1890"/>
                </a:lnTo>
                <a:lnTo>
                  <a:pt x="1254" y="1884"/>
                </a:lnTo>
                <a:lnTo>
                  <a:pt x="1254" y="1878"/>
                </a:lnTo>
                <a:lnTo>
                  <a:pt x="1254" y="1884"/>
                </a:lnTo>
                <a:lnTo>
                  <a:pt x="1248" y="1884"/>
                </a:lnTo>
                <a:lnTo>
                  <a:pt x="1248" y="1878"/>
                </a:lnTo>
                <a:lnTo>
                  <a:pt x="1242" y="1884"/>
                </a:lnTo>
                <a:lnTo>
                  <a:pt x="1242" y="1878"/>
                </a:lnTo>
                <a:lnTo>
                  <a:pt x="1242" y="1884"/>
                </a:lnTo>
                <a:lnTo>
                  <a:pt x="1236" y="1884"/>
                </a:lnTo>
                <a:lnTo>
                  <a:pt x="1242" y="1884"/>
                </a:lnTo>
                <a:lnTo>
                  <a:pt x="1242" y="1890"/>
                </a:lnTo>
                <a:lnTo>
                  <a:pt x="1236" y="1890"/>
                </a:lnTo>
                <a:lnTo>
                  <a:pt x="1236" y="1896"/>
                </a:lnTo>
                <a:lnTo>
                  <a:pt x="1242" y="1896"/>
                </a:lnTo>
                <a:lnTo>
                  <a:pt x="1242" y="1902"/>
                </a:lnTo>
                <a:lnTo>
                  <a:pt x="1236" y="1902"/>
                </a:lnTo>
                <a:lnTo>
                  <a:pt x="1236" y="1896"/>
                </a:lnTo>
                <a:lnTo>
                  <a:pt x="1236" y="1902"/>
                </a:lnTo>
                <a:lnTo>
                  <a:pt x="1230" y="1902"/>
                </a:lnTo>
                <a:lnTo>
                  <a:pt x="1236" y="1902"/>
                </a:lnTo>
                <a:lnTo>
                  <a:pt x="1242" y="1902"/>
                </a:lnTo>
                <a:lnTo>
                  <a:pt x="1242" y="1908"/>
                </a:lnTo>
                <a:lnTo>
                  <a:pt x="1236" y="1908"/>
                </a:lnTo>
                <a:lnTo>
                  <a:pt x="1230" y="1908"/>
                </a:lnTo>
                <a:lnTo>
                  <a:pt x="1236" y="1914"/>
                </a:lnTo>
                <a:lnTo>
                  <a:pt x="1236" y="1908"/>
                </a:lnTo>
                <a:lnTo>
                  <a:pt x="1236" y="1914"/>
                </a:lnTo>
                <a:lnTo>
                  <a:pt x="1230" y="1914"/>
                </a:lnTo>
                <a:lnTo>
                  <a:pt x="1224" y="1920"/>
                </a:lnTo>
                <a:lnTo>
                  <a:pt x="1218" y="1920"/>
                </a:lnTo>
                <a:lnTo>
                  <a:pt x="1212" y="1914"/>
                </a:lnTo>
                <a:lnTo>
                  <a:pt x="1206" y="1914"/>
                </a:lnTo>
                <a:lnTo>
                  <a:pt x="1206" y="1908"/>
                </a:lnTo>
                <a:lnTo>
                  <a:pt x="1200" y="1908"/>
                </a:lnTo>
                <a:lnTo>
                  <a:pt x="1194" y="1908"/>
                </a:lnTo>
                <a:lnTo>
                  <a:pt x="1188" y="1908"/>
                </a:lnTo>
                <a:lnTo>
                  <a:pt x="1182" y="1908"/>
                </a:lnTo>
                <a:lnTo>
                  <a:pt x="1176" y="1908"/>
                </a:lnTo>
                <a:lnTo>
                  <a:pt x="1176" y="1902"/>
                </a:lnTo>
                <a:lnTo>
                  <a:pt x="1176" y="1896"/>
                </a:lnTo>
                <a:lnTo>
                  <a:pt x="1176" y="1890"/>
                </a:lnTo>
                <a:lnTo>
                  <a:pt x="1170" y="1890"/>
                </a:lnTo>
                <a:lnTo>
                  <a:pt x="1170" y="1884"/>
                </a:lnTo>
                <a:lnTo>
                  <a:pt x="1170" y="1890"/>
                </a:lnTo>
                <a:lnTo>
                  <a:pt x="1158" y="1884"/>
                </a:lnTo>
                <a:lnTo>
                  <a:pt x="1164" y="1878"/>
                </a:lnTo>
                <a:lnTo>
                  <a:pt x="1164" y="1872"/>
                </a:lnTo>
                <a:lnTo>
                  <a:pt x="1158" y="1872"/>
                </a:lnTo>
                <a:lnTo>
                  <a:pt x="1152" y="1872"/>
                </a:lnTo>
                <a:lnTo>
                  <a:pt x="1146" y="1872"/>
                </a:lnTo>
                <a:lnTo>
                  <a:pt x="1140" y="1878"/>
                </a:lnTo>
                <a:lnTo>
                  <a:pt x="1134" y="1878"/>
                </a:lnTo>
                <a:lnTo>
                  <a:pt x="1122" y="1884"/>
                </a:lnTo>
                <a:lnTo>
                  <a:pt x="1110" y="1884"/>
                </a:lnTo>
                <a:lnTo>
                  <a:pt x="1104" y="1884"/>
                </a:lnTo>
                <a:lnTo>
                  <a:pt x="1098" y="1884"/>
                </a:lnTo>
                <a:lnTo>
                  <a:pt x="1098" y="1890"/>
                </a:lnTo>
                <a:lnTo>
                  <a:pt x="1092" y="1890"/>
                </a:lnTo>
                <a:lnTo>
                  <a:pt x="1086" y="1890"/>
                </a:lnTo>
                <a:lnTo>
                  <a:pt x="1080" y="1890"/>
                </a:lnTo>
                <a:lnTo>
                  <a:pt x="1074" y="1890"/>
                </a:lnTo>
                <a:lnTo>
                  <a:pt x="1068" y="1896"/>
                </a:lnTo>
                <a:lnTo>
                  <a:pt x="1062" y="1896"/>
                </a:lnTo>
                <a:lnTo>
                  <a:pt x="1062" y="1890"/>
                </a:lnTo>
                <a:lnTo>
                  <a:pt x="1068" y="1890"/>
                </a:lnTo>
                <a:lnTo>
                  <a:pt x="1062" y="1890"/>
                </a:lnTo>
                <a:lnTo>
                  <a:pt x="1062" y="1884"/>
                </a:lnTo>
                <a:lnTo>
                  <a:pt x="1062" y="1878"/>
                </a:lnTo>
                <a:lnTo>
                  <a:pt x="1068" y="1878"/>
                </a:lnTo>
                <a:lnTo>
                  <a:pt x="1068" y="1872"/>
                </a:lnTo>
                <a:lnTo>
                  <a:pt x="1062" y="1866"/>
                </a:lnTo>
                <a:lnTo>
                  <a:pt x="1062" y="1860"/>
                </a:lnTo>
                <a:lnTo>
                  <a:pt x="1068" y="1860"/>
                </a:lnTo>
                <a:lnTo>
                  <a:pt x="1068" y="1854"/>
                </a:lnTo>
                <a:lnTo>
                  <a:pt x="1062" y="1854"/>
                </a:lnTo>
                <a:lnTo>
                  <a:pt x="1056" y="1854"/>
                </a:lnTo>
                <a:lnTo>
                  <a:pt x="1050" y="1860"/>
                </a:lnTo>
                <a:lnTo>
                  <a:pt x="1050" y="1854"/>
                </a:lnTo>
                <a:lnTo>
                  <a:pt x="1044" y="1854"/>
                </a:lnTo>
                <a:lnTo>
                  <a:pt x="1044" y="1848"/>
                </a:lnTo>
                <a:lnTo>
                  <a:pt x="1038" y="1848"/>
                </a:lnTo>
                <a:lnTo>
                  <a:pt x="1038" y="1842"/>
                </a:lnTo>
                <a:lnTo>
                  <a:pt x="1032" y="1842"/>
                </a:lnTo>
                <a:lnTo>
                  <a:pt x="1026" y="1842"/>
                </a:lnTo>
                <a:lnTo>
                  <a:pt x="1026" y="1836"/>
                </a:lnTo>
                <a:lnTo>
                  <a:pt x="1026" y="1830"/>
                </a:lnTo>
                <a:lnTo>
                  <a:pt x="1032" y="1824"/>
                </a:lnTo>
                <a:lnTo>
                  <a:pt x="1038" y="1818"/>
                </a:lnTo>
                <a:lnTo>
                  <a:pt x="1038" y="1812"/>
                </a:lnTo>
                <a:lnTo>
                  <a:pt x="1032" y="1812"/>
                </a:lnTo>
                <a:lnTo>
                  <a:pt x="1032" y="1806"/>
                </a:lnTo>
                <a:lnTo>
                  <a:pt x="1032" y="1800"/>
                </a:lnTo>
                <a:lnTo>
                  <a:pt x="1026" y="1800"/>
                </a:lnTo>
                <a:lnTo>
                  <a:pt x="1020" y="1800"/>
                </a:lnTo>
                <a:lnTo>
                  <a:pt x="1014" y="1800"/>
                </a:lnTo>
                <a:lnTo>
                  <a:pt x="1008" y="1800"/>
                </a:lnTo>
                <a:lnTo>
                  <a:pt x="1014" y="1806"/>
                </a:lnTo>
                <a:lnTo>
                  <a:pt x="1014" y="1812"/>
                </a:lnTo>
                <a:lnTo>
                  <a:pt x="1014" y="1818"/>
                </a:lnTo>
                <a:lnTo>
                  <a:pt x="1014" y="1824"/>
                </a:lnTo>
                <a:lnTo>
                  <a:pt x="1008" y="1830"/>
                </a:lnTo>
                <a:lnTo>
                  <a:pt x="1008" y="1836"/>
                </a:lnTo>
                <a:lnTo>
                  <a:pt x="1008" y="1842"/>
                </a:lnTo>
                <a:lnTo>
                  <a:pt x="1002" y="1842"/>
                </a:lnTo>
                <a:lnTo>
                  <a:pt x="996" y="1842"/>
                </a:lnTo>
                <a:lnTo>
                  <a:pt x="990" y="1842"/>
                </a:lnTo>
                <a:lnTo>
                  <a:pt x="990" y="1848"/>
                </a:lnTo>
                <a:lnTo>
                  <a:pt x="996" y="1848"/>
                </a:lnTo>
                <a:lnTo>
                  <a:pt x="990" y="1848"/>
                </a:lnTo>
                <a:lnTo>
                  <a:pt x="984" y="1848"/>
                </a:lnTo>
                <a:lnTo>
                  <a:pt x="984" y="1854"/>
                </a:lnTo>
                <a:lnTo>
                  <a:pt x="978" y="1854"/>
                </a:lnTo>
                <a:lnTo>
                  <a:pt x="978" y="1848"/>
                </a:lnTo>
                <a:lnTo>
                  <a:pt x="978" y="1842"/>
                </a:lnTo>
                <a:lnTo>
                  <a:pt x="972" y="1842"/>
                </a:lnTo>
                <a:lnTo>
                  <a:pt x="972" y="1836"/>
                </a:lnTo>
                <a:lnTo>
                  <a:pt x="966" y="1842"/>
                </a:lnTo>
                <a:lnTo>
                  <a:pt x="966" y="1848"/>
                </a:lnTo>
                <a:lnTo>
                  <a:pt x="960" y="1848"/>
                </a:lnTo>
                <a:lnTo>
                  <a:pt x="954" y="1848"/>
                </a:lnTo>
                <a:lnTo>
                  <a:pt x="954" y="1854"/>
                </a:lnTo>
                <a:lnTo>
                  <a:pt x="954" y="1860"/>
                </a:lnTo>
                <a:lnTo>
                  <a:pt x="954" y="1854"/>
                </a:lnTo>
                <a:lnTo>
                  <a:pt x="948" y="1854"/>
                </a:lnTo>
                <a:lnTo>
                  <a:pt x="948" y="1848"/>
                </a:lnTo>
                <a:lnTo>
                  <a:pt x="942" y="1848"/>
                </a:lnTo>
                <a:lnTo>
                  <a:pt x="936" y="1842"/>
                </a:lnTo>
                <a:lnTo>
                  <a:pt x="930" y="1842"/>
                </a:lnTo>
                <a:lnTo>
                  <a:pt x="924" y="1842"/>
                </a:lnTo>
                <a:lnTo>
                  <a:pt x="924" y="1848"/>
                </a:lnTo>
                <a:lnTo>
                  <a:pt x="924" y="1854"/>
                </a:lnTo>
                <a:lnTo>
                  <a:pt x="918" y="1854"/>
                </a:lnTo>
                <a:lnTo>
                  <a:pt x="924" y="1860"/>
                </a:lnTo>
                <a:lnTo>
                  <a:pt x="930" y="1860"/>
                </a:lnTo>
                <a:lnTo>
                  <a:pt x="930" y="1866"/>
                </a:lnTo>
                <a:lnTo>
                  <a:pt x="930" y="1872"/>
                </a:lnTo>
                <a:lnTo>
                  <a:pt x="924" y="1872"/>
                </a:lnTo>
                <a:lnTo>
                  <a:pt x="918" y="1872"/>
                </a:lnTo>
                <a:lnTo>
                  <a:pt x="918" y="1866"/>
                </a:lnTo>
                <a:lnTo>
                  <a:pt x="912" y="1866"/>
                </a:lnTo>
                <a:lnTo>
                  <a:pt x="912" y="1872"/>
                </a:lnTo>
                <a:lnTo>
                  <a:pt x="912" y="1878"/>
                </a:lnTo>
                <a:lnTo>
                  <a:pt x="906" y="1878"/>
                </a:lnTo>
                <a:lnTo>
                  <a:pt x="900" y="1872"/>
                </a:lnTo>
                <a:lnTo>
                  <a:pt x="900" y="1878"/>
                </a:lnTo>
                <a:lnTo>
                  <a:pt x="900" y="1872"/>
                </a:lnTo>
                <a:lnTo>
                  <a:pt x="894" y="1872"/>
                </a:lnTo>
                <a:lnTo>
                  <a:pt x="894" y="1866"/>
                </a:lnTo>
                <a:lnTo>
                  <a:pt x="882" y="1866"/>
                </a:lnTo>
                <a:lnTo>
                  <a:pt x="876" y="1866"/>
                </a:lnTo>
                <a:lnTo>
                  <a:pt x="870" y="1860"/>
                </a:lnTo>
                <a:lnTo>
                  <a:pt x="864" y="1860"/>
                </a:lnTo>
                <a:lnTo>
                  <a:pt x="858" y="1860"/>
                </a:lnTo>
                <a:lnTo>
                  <a:pt x="858" y="1854"/>
                </a:lnTo>
                <a:lnTo>
                  <a:pt x="852" y="1854"/>
                </a:lnTo>
                <a:lnTo>
                  <a:pt x="846" y="1854"/>
                </a:lnTo>
                <a:lnTo>
                  <a:pt x="840" y="1854"/>
                </a:lnTo>
                <a:lnTo>
                  <a:pt x="840" y="1860"/>
                </a:lnTo>
                <a:lnTo>
                  <a:pt x="834" y="1860"/>
                </a:lnTo>
                <a:lnTo>
                  <a:pt x="834" y="1866"/>
                </a:lnTo>
                <a:lnTo>
                  <a:pt x="834" y="1872"/>
                </a:lnTo>
                <a:lnTo>
                  <a:pt x="828" y="1872"/>
                </a:lnTo>
                <a:lnTo>
                  <a:pt x="828" y="1866"/>
                </a:lnTo>
                <a:lnTo>
                  <a:pt x="822" y="1860"/>
                </a:lnTo>
                <a:lnTo>
                  <a:pt x="822" y="1854"/>
                </a:lnTo>
                <a:lnTo>
                  <a:pt x="828" y="1854"/>
                </a:lnTo>
                <a:lnTo>
                  <a:pt x="828" y="1848"/>
                </a:lnTo>
                <a:lnTo>
                  <a:pt x="828" y="1842"/>
                </a:lnTo>
                <a:lnTo>
                  <a:pt x="828" y="1836"/>
                </a:lnTo>
                <a:lnTo>
                  <a:pt x="822" y="1836"/>
                </a:lnTo>
                <a:lnTo>
                  <a:pt x="822" y="1830"/>
                </a:lnTo>
                <a:lnTo>
                  <a:pt x="816" y="1830"/>
                </a:lnTo>
                <a:lnTo>
                  <a:pt x="816" y="1824"/>
                </a:lnTo>
                <a:lnTo>
                  <a:pt x="810" y="1824"/>
                </a:lnTo>
                <a:lnTo>
                  <a:pt x="804" y="1824"/>
                </a:lnTo>
                <a:lnTo>
                  <a:pt x="798" y="1824"/>
                </a:lnTo>
                <a:lnTo>
                  <a:pt x="798" y="1818"/>
                </a:lnTo>
                <a:lnTo>
                  <a:pt x="792" y="1818"/>
                </a:lnTo>
                <a:lnTo>
                  <a:pt x="786" y="1818"/>
                </a:lnTo>
                <a:lnTo>
                  <a:pt x="786" y="1812"/>
                </a:lnTo>
                <a:lnTo>
                  <a:pt x="780" y="1812"/>
                </a:lnTo>
                <a:lnTo>
                  <a:pt x="780" y="1806"/>
                </a:lnTo>
                <a:lnTo>
                  <a:pt x="774" y="1806"/>
                </a:lnTo>
                <a:lnTo>
                  <a:pt x="768" y="1806"/>
                </a:lnTo>
                <a:lnTo>
                  <a:pt x="762" y="1806"/>
                </a:lnTo>
                <a:lnTo>
                  <a:pt x="762" y="1812"/>
                </a:lnTo>
                <a:lnTo>
                  <a:pt x="756" y="1812"/>
                </a:lnTo>
                <a:lnTo>
                  <a:pt x="756" y="1818"/>
                </a:lnTo>
                <a:lnTo>
                  <a:pt x="750" y="1812"/>
                </a:lnTo>
                <a:lnTo>
                  <a:pt x="750" y="1806"/>
                </a:lnTo>
                <a:lnTo>
                  <a:pt x="744" y="1812"/>
                </a:lnTo>
                <a:lnTo>
                  <a:pt x="744" y="1818"/>
                </a:lnTo>
                <a:lnTo>
                  <a:pt x="738" y="1818"/>
                </a:lnTo>
                <a:lnTo>
                  <a:pt x="738" y="1812"/>
                </a:lnTo>
                <a:lnTo>
                  <a:pt x="732" y="1812"/>
                </a:lnTo>
                <a:lnTo>
                  <a:pt x="738" y="1806"/>
                </a:lnTo>
                <a:lnTo>
                  <a:pt x="744" y="1806"/>
                </a:lnTo>
                <a:lnTo>
                  <a:pt x="744" y="1800"/>
                </a:lnTo>
                <a:lnTo>
                  <a:pt x="738" y="1800"/>
                </a:lnTo>
                <a:lnTo>
                  <a:pt x="738" y="1794"/>
                </a:lnTo>
                <a:lnTo>
                  <a:pt x="738" y="1788"/>
                </a:lnTo>
                <a:lnTo>
                  <a:pt x="744" y="1788"/>
                </a:lnTo>
                <a:lnTo>
                  <a:pt x="744" y="1782"/>
                </a:lnTo>
                <a:lnTo>
                  <a:pt x="738" y="1782"/>
                </a:lnTo>
                <a:lnTo>
                  <a:pt x="732" y="1782"/>
                </a:lnTo>
                <a:lnTo>
                  <a:pt x="732" y="1788"/>
                </a:lnTo>
                <a:lnTo>
                  <a:pt x="732" y="1782"/>
                </a:lnTo>
                <a:lnTo>
                  <a:pt x="726" y="1782"/>
                </a:lnTo>
                <a:lnTo>
                  <a:pt x="720" y="1782"/>
                </a:lnTo>
                <a:lnTo>
                  <a:pt x="720" y="1776"/>
                </a:lnTo>
                <a:lnTo>
                  <a:pt x="726" y="1776"/>
                </a:lnTo>
                <a:lnTo>
                  <a:pt x="726" y="1770"/>
                </a:lnTo>
                <a:lnTo>
                  <a:pt x="720" y="1770"/>
                </a:lnTo>
                <a:lnTo>
                  <a:pt x="720" y="1776"/>
                </a:lnTo>
                <a:lnTo>
                  <a:pt x="720" y="1770"/>
                </a:lnTo>
                <a:lnTo>
                  <a:pt x="714" y="1770"/>
                </a:lnTo>
                <a:lnTo>
                  <a:pt x="714" y="1764"/>
                </a:lnTo>
                <a:lnTo>
                  <a:pt x="720" y="1764"/>
                </a:lnTo>
                <a:lnTo>
                  <a:pt x="726" y="1764"/>
                </a:lnTo>
                <a:lnTo>
                  <a:pt x="726" y="1758"/>
                </a:lnTo>
                <a:lnTo>
                  <a:pt x="720" y="1752"/>
                </a:lnTo>
                <a:lnTo>
                  <a:pt x="726" y="1752"/>
                </a:lnTo>
                <a:lnTo>
                  <a:pt x="720" y="1752"/>
                </a:lnTo>
                <a:lnTo>
                  <a:pt x="720" y="1746"/>
                </a:lnTo>
                <a:lnTo>
                  <a:pt x="714" y="1746"/>
                </a:lnTo>
                <a:lnTo>
                  <a:pt x="702" y="1746"/>
                </a:lnTo>
                <a:lnTo>
                  <a:pt x="696" y="1746"/>
                </a:lnTo>
                <a:lnTo>
                  <a:pt x="696" y="1740"/>
                </a:lnTo>
                <a:lnTo>
                  <a:pt x="690" y="1740"/>
                </a:lnTo>
                <a:lnTo>
                  <a:pt x="684" y="1740"/>
                </a:lnTo>
                <a:lnTo>
                  <a:pt x="678" y="1734"/>
                </a:lnTo>
                <a:lnTo>
                  <a:pt x="672" y="1734"/>
                </a:lnTo>
                <a:lnTo>
                  <a:pt x="672" y="1728"/>
                </a:lnTo>
                <a:lnTo>
                  <a:pt x="672" y="1722"/>
                </a:lnTo>
                <a:lnTo>
                  <a:pt x="678" y="1722"/>
                </a:lnTo>
                <a:lnTo>
                  <a:pt x="678" y="1716"/>
                </a:lnTo>
                <a:lnTo>
                  <a:pt x="672" y="1716"/>
                </a:lnTo>
                <a:lnTo>
                  <a:pt x="678" y="1710"/>
                </a:lnTo>
                <a:lnTo>
                  <a:pt x="678" y="1704"/>
                </a:lnTo>
                <a:lnTo>
                  <a:pt x="678" y="1698"/>
                </a:lnTo>
                <a:lnTo>
                  <a:pt x="684" y="1692"/>
                </a:lnTo>
                <a:lnTo>
                  <a:pt x="684" y="1686"/>
                </a:lnTo>
                <a:lnTo>
                  <a:pt x="684" y="1692"/>
                </a:lnTo>
                <a:lnTo>
                  <a:pt x="690" y="1686"/>
                </a:lnTo>
                <a:lnTo>
                  <a:pt x="696" y="1686"/>
                </a:lnTo>
                <a:lnTo>
                  <a:pt x="702" y="1686"/>
                </a:lnTo>
                <a:lnTo>
                  <a:pt x="702" y="1680"/>
                </a:lnTo>
                <a:lnTo>
                  <a:pt x="702" y="1674"/>
                </a:lnTo>
                <a:lnTo>
                  <a:pt x="696" y="1668"/>
                </a:lnTo>
                <a:lnTo>
                  <a:pt x="696" y="1662"/>
                </a:lnTo>
                <a:lnTo>
                  <a:pt x="702" y="1656"/>
                </a:lnTo>
                <a:lnTo>
                  <a:pt x="714" y="1650"/>
                </a:lnTo>
                <a:lnTo>
                  <a:pt x="714" y="1644"/>
                </a:lnTo>
                <a:lnTo>
                  <a:pt x="714" y="1638"/>
                </a:lnTo>
                <a:lnTo>
                  <a:pt x="714" y="1632"/>
                </a:lnTo>
                <a:lnTo>
                  <a:pt x="708" y="1632"/>
                </a:lnTo>
                <a:lnTo>
                  <a:pt x="708" y="1626"/>
                </a:lnTo>
                <a:lnTo>
                  <a:pt x="708" y="1620"/>
                </a:lnTo>
                <a:lnTo>
                  <a:pt x="708" y="1614"/>
                </a:lnTo>
                <a:lnTo>
                  <a:pt x="708" y="1608"/>
                </a:lnTo>
                <a:lnTo>
                  <a:pt x="702" y="1608"/>
                </a:lnTo>
                <a:lnTo>
                  <a:pt x="696" y="1608"/>
                </a:lnTo>
                <a:lnTo>
                  <a:pt x="690" y="1614"/>
                </a:lnTo>
                <a:lnTo>
                  <a:pt x="684" y="1614"/>
                </a:lnTo>
                <a:lnTo>
                  <a:pt x="678" y="1614"/>
                </a:lnTo>
                <a:lnTo>
                  <a:pt x="672" y="1608"/>
                </a:lnTo>
                <a:lnTo>
                  <a:pt x="672" y="1602"/>
                </a:lnTo>
                <a:lnTo>
                  <a:pt x="672" y="1596"/>
                </a:lnTo>
                <a:lnTo>
                  <a:pt x="672" y="1590"/>
                </a:lnTo>
                <a:lnTo>
                  <a:pt x="672" y="1584"/>
                </a:lnTo>
                <a:lnTo>
                  <a:pt x="672" y="1578"/>
                </a:lnTo>
                <a:lnTo>
                  <a:pt x="672" y="1572"/>
                </a:lnTo>
                <a:lnTo>
                  <a:pt x="672" y="1566"/>
                </a:lnTo>
                <a:lnTo>
                  <a:pt x="672" y="1560"/>
                </a:lnTo>
                <a:lnTo>
                  <a:pt x="666" y="1560"/>
                </a:lnTo>
                <a:lnTo>
                  <a:pt x="660" y="1560"/>
                </a:lnTo>
                <a:lnTo>
                  <a:pt x="654" y="1560"/>
                </a:lnTo>
                <a:lnTo>
                  <a:pt x="654" y="1554"/>
                </a:lnTo>
                <a:lnTo>
                  <a:pt x="654" y="1548"/>
                </a:lnTo>
                <a:lnTo>
                  <a:pt x="654" y="1542"/>
                </a:lnTo>
                <a:lnTo>
                  <a:pt x="648" y="1542"/>
                </a:lnTo>
                <a:lnTo>
                  <a:pt x="642" y="1536"/>
                </a:lnTo>
                <a:lnTo>
                  <a:pt x="648" y="1536"/>
                </a:lnTo>
                <a:lnTo>
                  <a:pt x="648" y="1530"/>
                </a:lnTo>
                <a:lnTo>
                  <a:pt x="642" y="1524"/>
                </a:lnTo>
                <a:lnTo>
                  <a:pt x="642" y="1518"/>
                </a:lnTo>
                <a:lnTo>
                  <a:pt x="636" y="1518"/>
                </a:lnTo>
                <a:lnTo>
                  <a:pt x="630" y="1518"/>
                </a:lnTo>
                <a:lnTo>
                  <a:pt x="624" y="1512"/>
                </a:lnTo>
                <a:lnTo>
                  <a:pt x="630" y="1512"/>
                </a:lnTo>
                <a:lnTo>
                  <a:pt x="630" y="1506"/>
                </a:lnTo>
                <a:lnTo>
                  <a:pt x="630" y="1500"/>
                </a:lnTo>
                <a:lnTo>
                  <a:pt x="624" y="1500"/>
                </a:lnTo>
                <a:lnTo>
                  <a:pt x="630" y="1500"/>
                </a:lnTo>
                <a:lnTo>
                  <a:pt x="630" y="1494"/>
                </a:lnTo>
                <a:lnTo>
                  <a:pt x="624" y="1494"/>
                </a:lnTo>
                <a:lnTo>
                  <a:pt x="624" y="1488"/>
                </a:lnTo>
                <a:lnTo>
                  <a:pt x="630" y="1488"/>
                </a:lnTo>
                <a:lnTo>
                  <a:pt x="636" y="1488"/>
                </a:lnTo>
                <a:lnTo>
                  <a:pt x="642" y="1482"/>
                </a:lnTo>
                <a:lnTo>
                  <a:pt x="648" y="1482"/>
                </a:lnTo>
                <a:lnTo>
                  <a:pt x="648" y="1476"/>
                </a:lnTo>
                <a:lnTo>
                  <a:pt x="648" y="1470"/>
                </a:lnTo>
                <a:lnTo>
                  <a:pt x="648" y="1476"/>
                </a:lnTo>
                <a:lnTo>
                  <a:pt x="654" y="1476"/>
                </a:lnTo>
                <a:lnTo>
                  <a:pt x="654" y="1470"/>
                </a:lnTo>
                <a:lnTo>
                  <a:pt x="654" y="1464"/>
                </a:lnTo>
                <a:lnTo>
                  <a:pt x="660" y="1464"/>
                </a:lnTo>
                <a:lnTo>
                  <a:pt x="660" y="1470"/>
                </a:lnTo>
                <a:lnTo>
                  <a:pt x="666" y="1470"/>
                </a:lnTo>
                <a:lnTo>
                  <a:pt x="672" y="1470"/>
                </a:lnTo>
                <a:lnTo>
                  <a:pt x="678" y="1470"/>
                </a:lnTo>
                <a:lnTo>
                  <a:pt x="684" y="1470"/>
                </a:lnTo>
                <a:lnTo>
                  <a:pt x="684" y="1476"/>
                </a:lnTo>
                <a:lnTo>
                  <a:pt x="690" y="1482"/>
                </a:lnTo>
                <a:lnTo>
                  <a:pt x="696" y="1482"/>
                </a:lnTo>
                <a:lnTo>
                  <a:pt x="702" y="1482"/>
                </a:lnTo>
                <a:lnTo>
                  <a:pt x="708" y="1482"/>
                </a:lnTo>
                <a:lnTo>
                  <a:pt x="714" y="1482"/>
                </a:lnTo>
                <a:lnTo>
                  <a:pt x="720" y="1488"/>
                </a:lnTo>
                <a:lnTo>
                  <a:pt x="726" y="1488"/>
                </a:lnTo>
                <a:lnTo>
                  <a:pt x="732" y="1488"/>
                </a:lnTo>
                <a:lnTo>
                  <a:pt x="738" y="1488"/>
                </a:lnTo>
                <a:lnTo>
                  <a:pt x="738" y="1482"/>
                </a:lnTo>
                <a:lnTo>
                  <a:pt x="738" y="1476"/>
                </a:lnTo>
                <a:lnTo>
                  <a:pt x="738" y="1470"/>
                </a:lnTo>
                <a:lnTo>
                  <a:pt x="744" y="1470"/>
                </a:lnTo>
                <a:lnTo>
                  <a:pt x="750" y="1470"/>
                </a:lnTo>
                <a:lnTo>
                  <a:pt x="750" y="1464"/>
                </a:lnTo>
                <a:lnTo>
                  <a:pt x="750" y="1458"/>
                </a:lnTo>
                <a:lnTo>
                  <a:pt x="750" y="1452"/>
                </a:lnTo>
                <a:lnTo>
                  <a:pt x="750" y="1446"/>
                </a:lnTo>
                <a:lnTo>
                  <a:pt x="744" y="1440"/>
                </a:lnTo>
                <a:lnTo>
                  <a:pt x="744" y="1434"/>
                </a:lnTo>
                <a:lnTo>
                  <a:pt x="744" y="1428"/>
                </a:lnTo>
                <a:lnTo>
                  <a:pt x="738" y="1428"/>
                </a:lnTo>
                <a:lnTo>
                  <a:pt x="738" y="1422"/>
                </a:lnTo>
                <a:lnTo>
                  <a:pt x="732" y="1422"/>
                </a:lnTo>
                <a:lnTo>
                  <a:pt x="726" y="1422"/>
                </a:lnTo>
                <a:lnTo>
                  <a:pt x="720" y="1422"/>
                </a:lnTo>
                <a:lnTo>
                  <a:pt x="720" y="1416"/>
                </a:lnTo>
                <a:lnTo>
                  <a:pt x="714" y="1416"/>
                </a:lnTo>
                <a:lnTo>
                  <a:pt x="708" y="1416"/>
                </a:lnTo>
                <a:lnTo>
                  <a:pt x="708" y="1410"/>
                </a:lnTo>
                <a:lnTo>
                  <a:pt x="708" y="1404"/>
                </a:lnTo>
                <a:lnTo>
                  <a:pt x="708" y="1398"/>
                </a:lnTo>
                <a:lnTo>
                  <a:pt x="708" y="1392"/>
                </a:lnTo>
                <a:lnTo>
                  <a:pt x="702" y="1392"/>
                </a:lnTo>
                <a:lnTo>
                  <a:pt x="708" y="1392"/>
                </a:lnTo>
                <a:lnTo>
                  <a:pt x="702" y="1386"/>
                </a:lnTo>
                <a:lnTo>
                  <a:pt x="702" y="1380"/>
                </a:lnTo>
                <a:lnTo>
                  <a:pt x="702" y="1374"/>
                </a:lnTo>
                <a:lnTo>
                  <a:pt x="702" y="1368"/>
                </a:lnTo>
                <a:lnTo>
                  <a:pt x="696" y="1368"/>
                </a:lnTo>
                <a:lnTo>
                  <a:pt x="690" y="1368"/>
                </a:lnTo>
                <a:lnTo>
                  <a:pt x="684" y="1368"/>
                </a:lnTo>
                <a:lnTo>
                  <a:pt x="684" y="1362"/>
                </a:lnTo>
                <a:lnTo>
                  <a:pt x="690" y="1362"/>
                </a:lnTo>
                <a:lnTo>
                  <a:pt x="696" y="1362"/>
                </a:lnTo>
                <a:lnTo>
                  <a:pt x="702" y="1362"/>
                </a:lnTo>
                <a:lnTo>
                  <a:pt x="708" y="1362"/>
                </a:lnTo>
                <a:lnTo>
                  <a:pt x="714" y="1362"/>
                </a:lnTo>
                <a:lnTo>
                  <a:pt x="720" y="1362"/>
                </a:lnTo>
                <a:lnTo>
                  <a:pt x="714" y="1356"/>
                </a:lnTo>
                <a:lnTo>
                  <a:pt x="708" y="1356"/>
                </a:lnTo>
                <a:lnTo>
                  <a:pt x="708" y="1350"/>
                </a:lnTo>
                <a:lnTo>
                  <a:pt x="702" y="1350"/>
                </a:lnTo>
                <a:lnTo>
                  <a:pt x="702" y="1344"/>
                </a:lnTo>
                <a:lnTo>
                  <a:pt x="708" y="1338"/>
                </a:lnTo>
                <a:lnTo>
                  <a:pt x="702" y="1338"/>
                </a:lnTo>
                <a:lnTo>
                  <a:pt x="702" y="1332"/>
                </a:lnTo>
                <a:lnTo>
                  <a:pt x="702" y="1326"/>
                </a:lnTo>
                <a:lnTo>
                  <a:pt x="696" y="1326"/>
                </a:lnTo>
                <a:lnTo>
                  <a:pt x="696" y="1320"/>
                </a:lnTo>
                <a:lnTo>
                  <a:pt x="690" y="1320"/>
                </a:lnTo>
                <a:lnTo>
                  <a:pt x="684" y="1320"/>
                </a:lnTo>
                <a:lnTo>
                  <a:pt x="684" y="1314"/>
                </a:lnTo>
                <a:lnTo>
                  <a:pt x="684" y="1308"/>
                </a:lnTo>
                <a:lnTo>
                  <a:pt x="678" y="1308"/>
                </a:lnTo>
                <a:lnTo>
                  <a:pt x="672" y="1308"/>
                </a:lnTo>
                <a:lnTo>
                  <a:pt x="666" y="1308"/>
                </a:lnTo>
                <a:lnTo>
                  <a:pt x="660" y="1308"/>
                </a:lnTo>
                <a:lnTo>
                  <a:pt x="654" y="1308"/>
                </a:lnTo>
                <a:lnTo>
                  <a:pt x="654" y="1314"/>
                </a:lnTo>
                <a:lnTo>
                  <a:pt x="648" y="1308"/>
                </a:lnTo>
                <a:lnTo>
                  <a:pt x="642" y="1308"/>
                </a:lnTo>
                <a:lnTo>
                  <a:pt x="642" y="1302"/>
                </a:lnTo>
                <a:lnTo>
                  <a:pt x="642" y="1296"/>
                </a:lnTo>
                <a:lnTo>
                  <a:pt x="648" y="1296"/>
                </a:lnTo>
                <a:lnTo>
                  <a:pt x="642" y="1296"/>
                </a:lnTo>
                <a:lnTo>
                  <a:pt x="642" y="1290"/>
                </a:lnTo>
                <a:lnTo>
                  <a:pt x="636" y="1290"/>
                </a:lnTo>
                <a:lnTo>
                  <a:pt x="636" y="1284"/>
                </a:lnTo>
                <a:lnTo>
                  <a:pt x="630" y="1284"/>
                </a:lnTo>
                <a:lnTo>
                  <a:pt x="630" y="1278"/>
                </a:lnTo>
                <a:lnTo>
                  <a:pt x="624" y="1278"/>
                </a:lnTo>
                <a:lnTo>
                  <a:pt x="618" y="1278"/>
                </a:lnTo>
                <a:lnTo>
                  <a:pt x="612" y="1278"/>
                </a:lnTo>
                <a:lnTo>
                  <a:pt x="606" y="1272"/>
                </a:lnTo>
                <a:lnTo>
                  <a:pt x="606" y="1278"/>
                </a:lnTo>
                <a:lnTo>
                  <a:pt x="606" y="1284"/>
                </a:lnTo>
                <a:lnTo>
                  <a:pt x="600" y="1284"/>
                </a:lnTo>
                <a:lnTo>
                  <a:pt x="600" y="1290"/>
                </a:lnTo>
                <a:lnTo>
                  <a:pt x="594" y="1290"/>
                </a:lnTo>
                <a:lnTo>
                  <a:pt x="594" y="1284"/>
                </a:lnTo>
                <a:lnTo>
                  <a:pt x="594" y="1278"/>
                </a:lnTo>
                <a:lnTo>
                  <a:pt x="588" y="1278"/>
                </a:lnTo>
                <a:lnTo>
                  <a:pt x="582" y="1278"/>
                </a:lnTo>
                <a:lnTo>
                  <a:pt x="582" y="1284"/>
                </a:lnTo>
                <a:lnTo>
                  <a:pt x="588" y="1284"/>
                </a:lnTo>
                <a:lnTo>
                  <a:pt x="588" y="1290"/>
                </a:lnTo>
                <a:lnTo>
                  <a:pt x="588" y="1296"/>
                </a:lnTo>
                <a:lnTo>
                  <a:pt x="576" y="1290"/>
                </a:lnTo>
                <a:lnTo>
                  <a:pt x="576" y="1296"/>
                </a:lnTo>
                <a:lnTo>
                  <a:pt x="576" y="1302"/>
                </a:lnTo>
                <a:lnTo>
                  <a:pt x="570" y="1302"/>
                </a:lnTo>
                <a:lnTo>
                  <a:pt x="564" y="1302"/>
                </a:lnTo>
                <a:lnTo>
                  <a:pt x="564" y="1308"/>
                </a:lnTo>
                <a:lnTo>
                  <a:pt x="558" y="1308"/>
                </a:lnTo>
                <a:lnTo>
                  <a:pt x="552" y="1308"/>
                </a:lnTo>
                <a:lnTo>
                  <a:pt x="558" y="1308"/>
                </a:lnTo>
                <a:lnTo>
                  <a:pt x="558" y="1302"/>
                </a:lnTo>
                <a:lnTo>
                  <a:pt x="552" y="1302"/>
                </a:lnTo>
                <a:lnTo>
                  <a:pt x="552" y="1296"/>
                </a:lnTo>
                <a:lnTo>
                  <a:pt x="552" y="1290"/>
                </a:lnTo>
                <a:lnTo>
                  <a:pt x="546" y="1290"/>
                </a:lnTo>
                <a:lnTo>
                  <a:pt x="540" y="1290"/>
                </a:lnTo>
                <a:lnTo>
                  <a:pt x="534" y="1290"/>
                </a:lnTo>
                <a:lnTo>
                  <a:pt x="534" y="1296"/>
                </a:lnTo>
                <a:lnTo>
                  <a:pt x="528" y="1296"/>
                </a:lnTo>
                <a:lnTo>
                  <a:pt x="522" y="1296"/>
                </a:lnTo>
                <a:lnTo>
                  <a:pt x="522" y="1290"/>
                </a:lnTo>
                <a:lnTo>
                  <a:pt x="522" y="1284"/>
                </a:lnTo>
                <a:lnTo>
                  <a:pt x="516" y="1284"/>
                </a:lnTo>
                <a:lnTo>
                  <a:pt x="522" y="1284"/>
                </a:lnTo>
                <a:lnTo>
                  <a:pt x="522" y="1278"/>
                </a:lnTo>
                <a:lnTo>
                  <a:pt x="528" y="1278"/>
                </a:lnTo>
                <a:lnTo>
                  <a:pt x="534" y="1278"/>
                </a:lnTo>
                <a:lnTo>
                  <a:pt x="534" y="1272"/>
                </a:lnTo>
                <a:lnTo>
                  <a:pt x="534" y="1266"/>
                </a:lnTo>
                <a:lnTo>
                  <a:pt x="534" y="1260"/>
                </a:lnTo>
                <a:lnTo>
                  <a:pt x="528" y="1260"/>
                </a:lnTo>
                <a:lnTo>
                  <a:pt x="528" y="1254"/>
                </a:lnTo>
                <a:lnTo>
                  <a:pt x="522" y="1254"/>
                </a:lnTo>
                <a:lnTo>
                  <a:pt x="522" y="1248"/>
                </a:lnTo>
                <a:lnTo>
                  <a:pt x="516" y="1248"/>
                </a:lnTo>
                <a:lnTo>
                  <a:pt x="516" y="1242"/>
                </a:lnTo>
                <a:lnTo>
                  <a:pt x="516" y="1248"/>
                </a:lnTo>
                <a:lnTo>
                  <a:pt x="510" y="1248"/>
                </a:lnTo>
                <a:lnTo>
                  <a:pt x="510" y="1242"/>
                </a:lnTo>
                <a:lnTo>
                  <a:pt x="504" y="1242"/>
                </a:lnTo>
                <a:lnTo>
                  <a:pt x="504" y="1236"/>
                </a:lnTo>
                <a:lnTo>
                  <a:pt x="498" y="1236"/>
                </a:lnTo>
                <a:lnTo>
                  <a:pt x="498" y="1230"/>
                </a:lnTo>
                <a:lnTo>
                  <a:pt x="492" y="1230"/>
                </a:lnTo>
                <a:lnTo>
                  <a:pt x="492" y="1224"/>
                </a:lnTo>
                <a:lnTo>
                  <a:pt x="498" y="1218"/>
                </a:lnTo>
                <a:lnTo>
                  <a:pt x="504" y="1212"/>
                </a:lnTo>
                <a:lnTo>
                  <a:pt x="510" y="1206"/>
                </a:lnTo>
                <a:lnTo>
                  <a:pt x="516" y="1200"/>
                </a:lnTo>
                <a:lnTo>
                  <a:pt x="510" y="1194"/>
                </a:lnTo>
                <a:lnTo>
                  <a:pt x="510" y="1188"/>
                </a:lnTo>
                <a:lnTo>
                  <a:pt x="516" y="1182"/>
                </a:lnTo>
                <a:lnTo>
                  <a:pt x="516" y="1176"/>
                </a:lnTo>
                <a:lnTo>
                  <a:pt x="516" y="1170"/>
                </a:lnTo>
                <a:lnTo>
                  <a:pt x="516" y="1164"/>
                </a:lnTo>
                <a:lnTo>
                  <a:pt x="510" y="1164"/>
                </a:lnTo>
                <a:lnTo>
                  <a:pt x="510" y="1158"/>
                </a:lnTo>
                <a:lnTo>
                  <a:pt x="504" y="1152"/>
                </a:lnTo>
                <a:lnTo>
                  <a:pt x="498" y="1152"/>
                </a:lnTo>
                <a:lnTo>
                  <a:pt x="492" y="1152"/>
                </a:lnTo>
                <a:lnTo>
                  <a:pt x="486" y="1152"/>
                </a:lnTo>
                <a:lnTo>
                  <a:pt x="486" y="1158"/>
                </a:lnTo>
                <a:lnTo>
                  <a:pt x="480" y="1158"/>
                </a:lnTo>
                <a:lnTo>
                  <a:pt x="480" y="1152"/>
                </a:lnTo>
                <a:lnTo>
                  <a:pt x="474" y="1152"/>
                </a:lnTo>
                <a:lnTo>
                  <a:pt x="468" y="1146"/>
                </a:lnTo>
                <a:lnTo>
                  <a:pt x="462" y="1140"/>
                </a:lnTo>
                <a:lnTo>
                  <a:pt x="462" y="1134"/>
                </a:lnTo>
                <a:lnTo>
                  <a:pt x="456" y="1134"/>
                </a:lnTo>
                <a:lnTo>
                  <a:pt x="450" y="1134"/>
                </a:lnTo>
                <a:lnTo>
                  <a:pt x="450" y="1140"/>
                </a:lnTo>
                <a:lnTo>
                  <a:pt x="444" y="1140"/>
                </a:lnTo>
                <a:lnTo>
                  <a:pt x="438" y="1140"/>
                </a:lnTo>
                <a:lnTo>
                  <a:pt x="432" y="1140"/>
                </a:lnTo>
                <a:lnTo>
                  <a:pt x="432" y="1134"/>
                </a:lnTo>
                <a:lnTo>
                  <a:pt x="426" y="1134"/>
                </a:lnTo>
                <a:lnTo>
                  <a:pt x="426" y="1128"/>
                </a:lnTo>
                <a:lnTo>
                  <a:pt x="420" y="1128"/>
                </a:lnTo>
                <a:lnTo>
                  <a:pt x="420" y="1122"/>
                </a:lnTo>
                <a:lnTo>
                  <a:pt x="420" y="1116"/>
                </a:lnTo>
                <a:lnTo>
                  <a:pt x="414" y="1116"/>
                </a:lnTo>
                <a:lnTo>
                  <a:pt x="414" y="1110"/>
                </a:lnTo>
                <a:lnTo>
                  <a:pt x="408" y="1110"/>
                </a:lnTo>
                <a:lnTo>
                  <a:pt x="408" y="1104"/>
                </a:lnTo>
                <a:lnTo>
                  <a:pt x="408" y="1098"/>
                </a:lnTo>
                <a:lnTo>
                  <a:pt x="408" y="1092"/>
                </a:lnTo>
                <a:lnTo>
                  <a:pt x="408" y="1086"/>
                </a:lnTo>
                <a:lnTo>
                  <a:pt x="414" y="1086"/>
                </a:lnTo>
                <a:lnTo>
                  <a:pt x="414" y="1080"/>
                </a:lnTo>
                <a:lnTo>
                  <a:pt x="414" y="1074"/>
                </a:lnTo>
                <a:lnTo>
                  <a:pt x="408" y="1068"/>
                </a:lnTo>
                <a:lnTo>
                  <a:pt x="402" y="1068"/>
                </a:lnTo>
                <a:lnTo>
                  <a:pt x="396" y="1062"/>
                </a:lnTo>
                <a:lnTo>
                  <a:pt x="390" y="1062"/>
                </a:lnTo>
                <a:lnTo>
                  <a:pt x="390" y="1056"/>
                </a:lnTo>
                <a:lnTo>
                  <a:pt x="384" y="1056"/>
                </a:lnTo>
                <a:lnTo>
                  <a:pt x="378" y="1056"/>
                </a:lnTo>
                <a:lnTo>
                  <a:pt x="372" y="1056"/>
                </a:lnTo>
                <a:lnTo>
                  <a:pt x="366" y="1056"/>
                </a:lnTo>
                <a:lnTo>
                  <a:pt x="360" y="1056"/>
                </a:lnTo>
                <a:lnTo>
                  <a:pt x="360" y="1050"/>
                </a:lnTo>
                <a:lnTo>
                  <a:pt x="354" y="1050"/>
                </a:lnTo>
                <a:lnTo>
                  <a:pt x="354" y="1044"/>
                </a:lnTo>
                <a:lnTo>
                  <a:pt x="354" y="1038"/>
                </a:lnTo>
                <a:lnTo>
                  <a:pt x="348" y="1038"/>
                </a:lnTo>
                <a:lnTo>
                  <a:pt x="342" y="1032"/>
                </a:lnTo>
                <a:lnTo>
                  <a:pt x="336" y="1032"/>
                </a:lnTo>
                <a:lnTo>
                  <a:pt x="330" y="1032"/>
                </a:lnTo>
                <a:lnTo>
                  <a:pt x="324" y="1032"/>
                </a:lnTo>
                <a:lnTo>
                  <a:pt x="324" y="1026"/>
                </a:lnTo>
                <a:lnTo>
                  <a:pt x="318" y="1026"/>
                </a:lnTo>
                <a:lnTo>
                  <a:pt x="312" y="1026"/>
                </a:lnTo>
                <a:lnTo>
                  <a:pt x="312" y="1032"/>
                </a:lnTo>
                <a:lnTo>
                  <a:pt x="306" y="1038"/>
                </a:lnTo>
                <a:lnTo>
                  <a:pt x="306" y="1044"/>
                </a:lnTo>
                <a:lnTo>
                  <a:pt x="312" y="1044"/>
                </a:lnTo>
                <a:lnTo>
                  <a:pt x="306" y="1050"/>
                </a:lnTo>
                <a:lnTo>
                  <a:pt x="300" y="1056"/>
                </a:lnTo>
                <a:lnTo>
                  <a:pt x="300" y="1062"/>
                </a:lnTo>
                <a:lnTo>
                  <a:pt x="294" y="1062"/>
                </a:lnTo>
                <a:lnTo>
                  <a:pt x="294" y="1056"/>
                </a:lnTo>
                <a:lnTo>
                  <a:pt x="288" y="1056"/>
                </a:lnTo>
                <a:lnTo>
                  <a:pt x="288" y="1050"/>
                </a:lnTo>
                <a:lnTo>
                  <a:pt x="282" y="1050"/>
                </a:lnTo>
                <a:lnTo>
                  <a:pt x="282" y="1056"/>
                </a:lnTo>
                <a:lnTo>
                  <a:pt x="276" y="1056"/>
                </a:lnTo>
                <a:lnTo>
                  <a:pt x="270" y="1056"/>
                </a:lnTo>
                <a:lnTo>
                  <a:pt x="270" y="1062"/>
                </a:lnTo>
                <a:lnTo>
                  <a:pt x="264" y="1068"/>
                </a:lnTo>
                <a:lnTo>
                  <a:pt x="264" y="1074"/>
                </a:lnTo>
                <a:lnTo>
                  <a:pt x="258" y="1074"/>
                </a:lnTo>
                <a:lnTo>
                  <a:pt x="252" y="1074"/>
                </a:lnTo>
                <a:lnTo>
                  <a:pt x="246" y="1074"/>
                </a:lnTo>
                <a:lnTo>
                  <a:pt x="240" y="1074"/>
                </a:lnTo>
                <a:lnTo>
                  <a:pt x="240" y="1068"/>
                </a:lnTo>
                <a:lnTo>
                  <a:pt x="234" y="1068"/>
                </a:lnTo>
                <a:lnTo>
                  <a:pt x="228" y="1068"/>
                </a:lnTo>
                <a:lnTo>
                  <a:pt x="228" y="1074"/>
                </a:lnTo>
                <a:lnTo>
                  <a:pt x="222" y="1074"/>
                </a:lnTo>
                <a:lnTo>
                  <a:pt x="222" y="1080"/>
                </a:lnTo>
                <a:lnTo>
                  <a:pt x="216" y="1080"/>
                </a:lnTo>
                <a:lnTo>
                  <a:pt x="216" y="1086"/>
                </a:lnTo>
                <a:lnTo>
                  <a:pt x="210" y="1086"/>
                </a:lnTo>
                <a:lnTo>
                  <a:pt x="204" y="1086"/>
                </a:lnTo>
                <a:lnTo>
                  <a:pt x="198" y="1086"/>
                </a:lnTo>
                <a:lnTo>
                  <a:pt x="198" y="1080"/>
                </a:lnTo>
                <a:lnTo>
                  <a:pt x="192" y="1080"/>
                </a:lnTo>
                <a:lnTo>
                  <a:pt x="192" y="1074"/>
                </a:lnTo>
                <a:lnTo>
                  <a:pt x="198" y="1074"/>
                </a:lnTo>
                <a:lnTo>
                  <a:pt x="198" y="1068"/>
                </a:lnTo>
                <a:lnTo>
                  <a:pt x="192" y="1068"/>
                </a:lnTo>
                <a:lnTo>
                  <a:pt x="186" y="1074"/>
                </a:lnTo>
                <a:lnTo>
                  <a:pt x="186" y="1068"/>
                </a:lnTo>
                <a:lnTo>
                  <a:pt x="186" y="1062"/>
                </a:lnTo>
                <a:lnTo>
                  <a:pt x="180" y="1062"/>
                </a:lnTo>
                <a:lnTo>
                  <a:pt x="174" y="1062"/>
                </a:lnTo>
                <a:lnTo>
                  <a:pt x="168" y="1062"/>
                </a:lnTo>
                <a:lnTo>
                  <a:pt x="162" y="1062"/>
                </a:lnTo>
                <a:lnTo>
                  <a:pt x="156" y="1062"/>
                </a:lnTo>
                <a:lnTo>
                  <a:pt x="150" y="1062"/>
                </a:lnTo>
                <a:lnTo>
                  <a:pt x="150" y="1056"/>
                </a:lnTo>
                <a:lnTo>
                  <a:pt x="144" y="1056"/>
                </a:lnTo>
                <a:lnTo>
                  <a:pt x="138" y="1056"/>
                </a:lnTo>
                <a:lnTo>
                  <a:pt x="132" y="1050"/>
                </a:lnTo>
                <a:lnTo>
                  <a:pt x="126" y="1044"/>
                </a:lnTo>
                <a:lnTo>
                  <a:pt x="126" y="1038"/>
                </a:lnTo>
                <a:lnTo>
                  <a:pt x="126" y="1032"/>
                </a:lnTo>
                <a:lnTo>
                  <a:pt x="120" y="1032"/>
                </a:lnTo>
                <a:lnTo>
                  <a:pt x="114" y="1032"/>
                </a:lnTo>
                <a:lnTo>
                  <a:pt x="108" y="1032"/>
                </a:lnTo>
                <a:lnTo>
                  <a:pt x="108" y="1026"/>
                </a:lnTo>
                <a:lnTo>
                  <a:pt x="102" y="1026"/>
                </a:lnTo>
                <a:lnTo>
                  <a:pt x="96" y="1026"/>
                </a:lnTo>
                <a:lnTo>
                  <a:pt x="96" y="1032"/>
                </a:lnTo>
                <a:lnTo>
                  <a:pt x="90" y="1032"/>
                </a:lnTo>
                <a:lnTo>
                  <a:pt x="90" y="1038"/>
                </a:lnTo>
                <a:lnTo>
                  <a:pt x="84" y="1038"/>
                </a:lnTo>
                <a:lnTo>
                  <a:pt x="78" y="1038"/>
                </a:lnTo>
                <a:lnTo>
                  <a:pt x="78" y="1032"/>
                </a:lnTo>
                <a:lnTo>
                  <a:pt x="72" y="1032"/>
                </a:lnTo>
                <a:lnTo>
                  <a:pt x="66" y="1032"/>
                </a:lnTo>
                <a:lnTo>
                  <a:pt x="66" y="1038"/>
                </a:lnTo>
                <a:lnTo>
                  <a:pt x="60" y="1038"/>
                </a:lnTo>
                <a:lnTo>
                  <a:pt x="54" y="1038"/>
                </a:lnTo>
                <a:lnTo>
                  <a:pt x="54" y="1032"/>
                </a:lnTo>
                <a:lnTo>
                  <a:pt x="48" y="1032"/>
                </a:lnTo>
                <a:lnTo>
                  <a:pt x="42" y="1032"/>
                </a:lnTo>
                <a:lnTo>
                  <a:pt x="36" y="1032"/>
                </a:lnTo>
                <a:lnTo>
                  <a:pt x="42" y="1026"/>
                </a:lnTo>
                <a:lnTo>
                  <a:pt x="42" y="1020"/>
                </a:lnTo>
                <a:lnTo>
                  <a:pt x="36" y="1020"/>
                </a:lnTo>
                <a:lnTo>
                  <a:pt x="36" y="1014"/>
                </a:lnTo>
                <a:lnTo>
                  <a:pt x="30" y="1020"/>
                </a:lnTo>
                <a:lnTo>
                  <a:pt x="24" y="1020"/>
                </a:lnTo>
                <a:lnTo>
                  <a:pt x="24" y="1014"/>
                </a:lnTo>
                <a:lnTo>
                  <a:pt x="30" y="1008"/>
                </a:lnTo>
                <a:lnTo>
                  <a:pt x="30" y="1002"/>
                </a:lnTo>
                <a:lnTo>
                  <a:pt x="24" y="1008"/>
                </a:lnTo>
                <a:lnTo>
                  <a:pt x="24" y="1002"/>
                </a:lnTo>
                <a:lnTo>
                  <a:pt x="18" y="1002"/>
                </a:lnTo>
                <a:lnTo>
                  <a:pt x="18" y="996"/>
                </a:lnTo>
                <a:lnTo>
                  <a:pt x="12" y="996"/>
                </a:lnTo>
                <a:lnTo>
                  <a:pt x="12" y="990"/>
                </a:lnTo>
                <a:lnTo>
                  <a:pt x="18" y="990"/>
                </a:lnTo>
                <a:lnTo>
                  <a:pt x="18" y="984"/>
                </a:lnTo>
                <a:lnTo>
                  <a:pt x="18" y="978"/>
                </a:lnTo>
                <a:lnTo>
                  <a:pt x="18" y="972"/>
                </a:lnTo>
                <a:lnTo>
                  <a:pt x="12" y="972"/>
                </a:lnTo>
                <a:lnTo>
                  <a:pt x="6" y="972"/>
                </a:lnTo>
                <a:lnTo>
                  <a:pt x="0" y="966"/>
                </a:lnTo>
                <a:lnTo>
                  <a:pt x="6" y="960"/>
                </a:lnTo>
                <a:lnTo>
                  <a:pt x="12" y="960"/>
                </a:lnTo>
                <a:lnTo>
                  <a:pt x="18" y="960"/>
                </a:lnTo>
                <a:lnTo>
                  <a:pt x="24" y="960"/>
                </a:lnTo>
                <a:lnTo>
                  <a:pt x="30" y="960"/>
                </a:lnTo>
                <a:lnTo>
                  <a:pt x="30" y="954"/>
                </a:lnTo>
                <a:lnTo>
                  <a:pt x="30" y="948"/>
                </a:lnTo>
                <a:lnTo>
                  <a:pt x="30" y="942"/>
                </a:lnTo>
                <a:lnTo>
                  <a:pt x="30" y="936"/>
                </a:lnTo>
                <a:lnTo>
                  <a:pt x="36" y="936"/>
                </a:lnTo>
                <a:lnTo>
                  <a:pt x="36" y="930"/>
                </a:lnTo>
                <a:lnTo>
                  <a:pt x="42" y="930"/>
                </a:lnTo>
                <a:lnTo>
                  <a:pt x="48" y="930"/>
                </a:lnTo>
                <a:lnTo>
                  <a:pt x="42" y="930"/>
                </a:lnTo>
                <a:lnTo>
                  <a:pt x="42" y="924"/>
                </a:lnTo>
                <a:lnTo>
                  <a:pt x="42" y="918"/>
                </a:lnTo>
                <a:lnTo>
                  <a:pt x="42" y="912"/>
                </a:lnTo>
                <a:lnTo>
                  <a:pt x="48" y="912"/>
                </a:lnTo>
                <a:lnTo>
                  <a:pt x="42" y="906"/>
                </a:lnTo>
                <a:lnTo>
                  <a:pt x="48" y="900"/>
                </a:lnTo>
                <a:lnTo>
                  <a:pt x="54" y="900"/>
                </a:lnTo>
                <a:lnTo>
                  <a:pt x="60" y="900"/>
                </a:lnTo>
                <a:lnTo>
                  <a:pt x="54" y="900"/>
                </a:lnTo>
                <a:lnTo>
                  <a:pt x="54" y="894"/>
                </a:lnTo>
                <a:lnTo>
                  <a:pt x="48" y="894"/>
                </a:lnTo>
                <a:lnTo>
                  <a:pt x="42" y="894"/>
                </a:lnTo>
                <a:lnTo>
                  <a:pt x="36" y="894"/>
                </a:lnTo>
                <a:lnTo>
                  <a:pt x="30" y="894"/>
                </a:lnTo>
                <a:lnTo>
                  <a:pt x="24" y="894"/>
                </a:lnTo>
                <a:lnTo>
                  <a:pt x="24" y="888"/>
                </a:lnTo>
                <a:lnTo>
                  <a:pt x="18" y="888"/>
                </a:lnTo>
                <a:lnTo>
                  <a:pt x="24" y="888"/>
                </a:lnTo>
                <a:lnTo>
                  <a:pt x="24" y="882"/>
                </a:lnTo>
                <a:lnTo>
                  <a:pt x="24" y="888"/>
                </a:lnTo>
                <a:lnTo>
                  <a:pt x="30" y="888"/>
                </a:lnTo>
                <a:lnTo>
                  <a:pt x="30" y="894"/>
                </a:lnTo>
                <a:lnTo>
                  <a:pt x="36" y="888"/>
                </a:lnTo>
                <a:lnTo>
                  <a:pt x="36" y="882"/>
                </a:lnTo>
                <a:lnTo>
                  <a:pt x="36" y="876"/>
                </a:lnTo>
                <a:lnTo>
                  <a:pt x="30" y="876"/>
                </a:lnTo>
                <a:lnTo>
                  <a:pt x="30" y="870"/>
                </a:lnTo>
                <a:lnTo>
                  <a:pt x="24" y="858"/>
                </a:lnTo>
                <a:lnTo>
                  <a:pt x="30" y="858"/>
                </a:lnTo>
                <a:lnTo>
                  <a:pt x="36" y="858"/>
                </a:lnTo>
                <a:lnTo>
                  <a:pt x="42" y="858"/>
                </a:lnTo>
                <a:lnTo>
                  <a:pt x="48" y="858"/>
                </a:lnTo>
                <a:lnTo>
                  <a:pt x="48" y="852"/>
                </a:lnTo>
                <a:lnTo>
                  <a:pt x="48" y="846"/>
                </a:lnTo>
                <a:lnTo>
                  <a:pt x="48" y="840"/>
                </a:lnTo>
                <a:lnTo>
                  <a:pt x="54" y="834"/>
                </a:lnTo>
                <a:lnTo>
                  <a:pt x="60" y="834"/>
                </a:lnTo>
                <a:lnTo>
                  <a:pt x="60" y="828"/>
                </a:lnTo>
                <a:lnTo>
                  <a:pt x="60" y="822"/>
                </a:lnTo>
                <a:lnTo>
                  <a:pt x="54" y="822"/>
                </a:lnTo>
                <a:lnTo>
                  <a:pt x="48" y="816"/>
                </a:lnTo>
                <a:lnTo>
                  <a:pt x="42" y="816"/>
                </a:lnTo>
                <a:lnTo>
                  <a:pt x="36" y="816"/>
                </a:lnTo>
                <a:lnTo>
                  <a:pt x="30" y="816"/>
                </a:lnTo>
                <a:lnTo>
                  <a:pt x="30" y="810"/>
                </a:lnTo>
                <a:lnTo>
                  <a:pt x="36" y="810"/>
                </a:lnTo>
                <a:lnTo>
                  <a:pt x="36" y="804"/>
                </a:lnTo>
                <a:lnTo>
                  <a:pt x="36" y="798"/>
                </a:lnTo>
                <a:lnTo>
                  <a:pt x="42" y="798"/>
                </a:lnTo>
                <a:lnTo>
                  <a:pt x="48" y="798"/>
                </a:lnTo>
                <a:lnTo>
                  <a:pt x="48" y="792"/>
                </a:lnTo>
                <a:lnTo>
                  <a:pt x="48" y="786"/>
                </a:lnTo>
                <a:lnTo>
                  <a:pt x="48" y="780"/>
                </a:lnTo>
                <a:lnTo>
                  <a:pt x="54" y="780"/>
                </a:lnTo>
                <a:lnTo>
                  <a:pt x="60" y="774"/>
                </a:lnTo>
                <a:lnTo>
                  <a:pt x="54" y="774"/>
                </a:lnTo>
                <a:lnTo>
                  <a:pt x="60" y="774"/>
                </a:lnTo>
                <a:lnTo>
                  <a:pt x="60" y="780"/>
                </a:lnTo>
                <a:lnTo>
                  <a:pt x="66" y="780"/>
                </a:lnTo>
                <a:lnTo>
                  <a:pt x="66" y="774"/>
                </a:lnTo>
                <a:lnTo>
                  <a:pt x="60" y="774"/>
                </a:lnTo>
                <a:lnTo>
                  <a:pt x="60" y="768"/>
                </a:lnTo>
                <a:lnTo>
                  <a:pt x="60" y="762"/>
                </a:lnTo>
                <a:lnTo>
                  <a:pt x="54" y="762"/>
                </a:lnTo>
                <a:lnTo>
                  <a:pt x="60" y="756"/>
                </a:lnTo>
                <a:lnTo>
                  <a:pt x="60" y="750"/>
                </a:lnTo>
                <a:lnTo>
                  <a:pt x="54" y="744"/>
                </a:lnTo>
                <a:lnTo>
                  <a:pt x="60" y="744"/>
                </a:lnTo>
                <a:lnTo>
                  <a:pt x="60" y="738"/>
                </a:lnTo>
                <a:lnTo>
                  <a:pt x="54" y="738"/>
                </a:lnTo>
                <a:lnTo>
                  <a:pt x="60" y="738"/>
                </a:lnTo>
                <a:lnTo>
                  <a:pt x="60" y="732"/>
                </a:lnTo>
                <a:lnTo>
                  <a:pt x="66" y="732"/>
                </a:lnTo>
                <a:lnTo>
                  <a:pt x="66" y="738"/>
                </a:lnTo>
                <a:lnTo>
                  <a:pt x="72" y="738"/>
                </a:lnTo>
                <a:lnTo>
                  <a:pt x="78" y="738"/>
                </a:lnTo>
                <a:lnTo>
                  <a:pt x="84" y="738"/>
                </a:lnTo>
                <a:lnTo>
                  <a:pt x="84" y="744"/>
                </a:lnTo>
                <a:lnTo>
                  <a:pt x="90" y="744"/>
                </a:lnTo>
                <a:lnTo>
                  <a:pt x="90" y="750"/>
                </a:lnTo>
                <a:lnTo>
                  <a:pt x="90" y="744"/>
                </a:lnTo>
                <a:lnTo>
                  <a:pt x="90" y="750"/>
                </a:lnTo>
                <a:lnTo>
                  <a:pt x="96" y="750"/>
                </a:lnTo>
                <a:lnTo>
                  <a:pt x="96" y="744"/>
                </a:lnTo>
                <a:lnTo>
                  <a:pt x="96" y="738"/>
                </a:lnTo>
                <a:lnTo>
                  <a:pt x="96" y="744"/>
                </a:lnTo>
                <a:lnTo>
                  <a:pt x="90" y="744"/>
                </a:lnTo>
                <a:lnTo>
                  <a:pt x="84" y="738"/>
                </a:lnTo>
                <a:lnTo>
                  <a:pt x="90" y="732"/>
                </a:lnTo>
                <a:lnTo>
                  <a:pt x="84" y="732"/>
                </a:lnTo>
                <a:lnTo>
                  <a:pt x="84" y="726"/>
                </a:lnTo>
                <a:lnTo>
                  <a:pt x="84" y="720"/>
                </a:lnTo>
                <a:lnTo>
                  <a:pt x="90" y="720"/>
                </a:lnTo>
                <a:lnTo>
                  <a:pt x="90" y="714"/>
                </a:lnTo>
                <a:lnTo>
                  <a:pt x="96" y="714"/>
                </a:lnTo>
                <a:lnTo>
                  <a:pt x="96" y="708"/>
                </a:lnTo>
                <a:lnTo>
                  <a:pt x="90" y="708"/>
                </a:lnTo>
                <a:lnTo>
                  <a:pt x="90" y="714"/>
                </a:lnTo>
                <a:lnTo>
                  <a:pt x="84" y="708"/>
                </a:lnTo>
                <a:lnTo>
                  <a:pt x="84" y="714"/>
                </a:lnTo>
                <a:lnTo>
                  <a:pt x="78" y="714"/>
                </a:lnTo>
                <a:lnTo>
                  <a:pt x="78" y="708"/>
                </a:lnTo>
                <a:lnTo>
                  <a:pt x="84" y="708"/>
                </a:lnTo>
                <a:lnTo>
                  <a:pt x="78" y="708"/>
                </a:lnTo>
                <a:lnTo>
                  <a:pt x="84" y="708"/>
                </a:lnTo>
                <a:lnTo>
                  <a:pt x="84" y="702"/>
                </a:lnTo>
                <a:lnTo>
                  <a:pt x="78" y="702"/>
                </a:lnTo>
                <a:lnTo>
                  <a:pt x="84" y="702"/>
                </a:lnTo>
                <a:lnTo>
                  <a:pt x="78" y="702"/>
                </a:lnTo>
                <a:lnTo>
                  <a:pt x="84" y="702"/>
                </a:lnTo>
                <a:lnTo>
                  <a:pt x="84" y="696"/>
                </a:lnTo>
                <a:lnTo>
                  <a:pt x="78" y="696"/>
                </a:lnTo>
                <a:lnTo>
                  <a:pt x="72" y="696"/>
                </a:lnTo>
                <a:lnTo>
                  <a:pt x="72" y="690"/>
                </a:lnTo>
                <a:lnTo>
                  <a:pt x="78" y="690"/>
                </a:lnTo>
                <a:lnTo>
                  <a:pt x="72" y="690"/>
                </a:lnTo>
                <a:lnTo>
                  <a:pt x="72" y="684"/>
                </a:lnTo>
                <a:lnTo>
                  <a:pt x="66" y="684"/>
                </a:lnTo>
                <a:lnTo>
                  <a:pt x="60" y="684"/>
                </a:lnTo>
                <a:lnTo>
                  <a:pt x="60" y="678"/>
                </a:lnTo>
                <a:lnTo>
                  <a:pt x="60" y="672"/>
                </a:lnTo>
                <a:lnTo>
                  <a:pt x="54" y="672"/>
                </a:lnTo>
                <a:lnTo>
                  <a:pt x="48" y="666"/>
                </a:lnTo>
                <a:lnTo>
                  <a:pt x="42" y="660"/>
                </a:lnTo>
                <a:lnTo>
                  <a:pt x="42" y="666"/>
                </a:lnTo>
                <a:lnTo>
                  <a:pt x="36" y="666"/>
                </a:lnTo>
                <a:lnTo>
                  <a:pt x="36" y="660"/>
                </a:lnTo>
                <a:lnTo>
                  <a:pt x="42" y="660"/>
                </a:lnTo>
                <a:lnTo>
                  <a:pt x="42" y="654"/>
                </a:lnTo>
                <a:lnTo>
                  <a:pt x="36" y="654"/>
                </a:lnTo>
                <a:lnTo>
                  <a:pt x="36" y="648"/>
                </a:lnTo>
                <a:lnTo>
                  <a:pt x="36" y="642"/>
                </a:lnTo>
                <a:lnTo>
                  <a:pt x="42" y="642"/>
                </a:lnTo>
                <a:lnTo>
                  <a:pt x="42" y="648"/>
                </a:lnTo>
                <a:lnTo>
                  <a:pt x="48" y="648"/>
                </a:lnTo>
                <a:lnTo>
                  <a:pt x="48" y="642"/>
                </a:lnTo>
                <a:lnTo>
                  <a:pt x="48" y="636"/>
                </a:lnTo>
                <a:lnTo>
                  <a:pt x="54" y="636"/>
                </a:lnTo>
                <a:lnTo>
                  <a:pt x="60" y="636"/>
                </a:lnTo>
                <a:lnTo>
                  <a:pt x="60" y="630"/>
                </a:lnTo>
                <a:lnTo>
                  <a:pt x="54" y="630"/>
                </a:lnTo>
                <a:lnTo>
                  <a:pt x="54" y="624"/>
                </a:lnTo>
                <a:lnTo>
                  <a:pt x="60" y="624"/>
                </a:lnTo>
                <a:lnTo>
                  <a:pt x="60" y="618"/>
                </a:lnTo>
                <a:lnTo>
                  <a:pt x="66" y="618"/>
                </a:lnTo>
                <a:lnTo>
                  <a:pt x="72" y="618"/>
                </a:lnTo>
                <a:lnTo>
                  <a:pt x="66" y="612"/>
                </a:lnTo>
                <a:lnTo>
                  <a:pt x="66" y="606"/>
                </a:lnTo>
                <a:lnTo>
                  <a:pt x="60" y="606"/>
                </a:lnTo>
                <a:lnTo>
                  <a:pt x="60" y="600"/>
                </a:lnTo>
                <a:lnTo>
                  <a:pt x="54" y="600"/>
                </a:lnTo>
                <a:lnTo>
                  <a:pt x="54" y="594"/>
                </a:lnTo>
                <a:lnTo>
                  <a:pt x="48" y="594"/>
                </a:lnTo>
                <a:lnTo>
                  <a:pt x="48" y="588"/>
                </a:lnTo>
                <a:lnTo>
                  <a:pt x="48" y="582"/>
                </a:lnTo>
                <a:lnTo>
                  <a:pt x="54" y="582"/>
                </a:lnTo>
                <a:lnTo>
                  <a:pt x="48" y="582"/>
                </a:lnTo>
                <a:lnTo>
                  <a:pt x="42" y="576"/>
                </a:lnTo>
                <a:lnTo>
                  <a:pt x="36" y="570"/>
                </a:lnTo>
                <a:lnTo>
                  <a:pt x="36" y="564"/>
                </a:lnTo>
                <a:lnTo>
                  <a:pt x="36" y="558"/>
                </a:lnTo>
                <a:lnTo>
                  <a:pt x="42" y="564"/>
                </a:lnTo>
                <a:lnTo>
                  <a:pt x="48" y="564"/>
                </a:lnTo>
                <a:lnTo>
                  <a:pt x="54" y="564"/>
                </a:lnTo>
                <a:lnTo>
                  <a:pt x="54" y="570"/>
                </a:lnTo>
                <a:lnTo>
                  <a:pt x="60" y="564"/>
                </a:lnTo>
                <a:lnTo>
                  <a:pt x="66" y="564"/>
                </a:lnTo>
                <a:lnTo>
                  <a:pt x="72" y="564"/>
                </a:lnTo>
                <a:lnTo>
                  <a:pt x="78" y="564"/>
                </a:lnTo>
                <a:lnTo>
                  <a:pt x="78" y="558"/>
                </a:lnTo>
                <a:lnTo>
                  <a:pt x="78" y="552"/>
                </a:lnTo>
                <a:lnTo>
                  <a:pt x="84" y="552"/>
                </a:lnTo>
                <a:lnTo>
                  <a:pt x="90" y="546"/>
                </a:lnTo>
                <a:lnTo>
                  <a:pt x="96" y="546"/>
                </a:lnTo>
                <a:lnTo>
                  <a:pt x="102" y="546"/>
                </a:lnTo>
                <a:lnTo>
                  <a:pt x="102" y="540"/>
                </a:lnTo>
                <a:lnTo>
                  <a:pt x="96" y="534"/>
                </a:lnTo>
                <a:lnTo>
                  <a:pt x="90" y="528"/>
                </a:lnTo>
                <a:lnTo>
                  <a:pt x="84" y="528"/>
                </a:lnTo>
                <a:lnTo>
                  <a:pt x="84" y="522"/>
                </a:lnTo>
                <a:lnTo>
                  <a:pt x="84" y="516"/>
                </a:lnTo>
                <a:lnTo>
                  <a:pt x="90" y="516"/>
                </a:lnTo>
                <a:lnTo>
                  <a:pt x="90" y="522"/>
                </a:lnTo>
                <a:lnTo>
                  <a:pt x="96" y="522"/>
                </a:lnTo>
                <a:lnTo>
                  <a:pt x="102" y="522"/>
                </a:lnTo>
                <a:lnTo>
                  <a:pt x="108" y="522"/>
                </a:lnTo>
                <a:lnTo>
                  <a:pt x="108" y="528"/>
                </a:lnTo>
                <a:lnTo>
                  <a:pt x="114" y="528"/>
                </a:lnTo>
                <a:lnTo>
                  <a:pt x="120" y="528"/>
                </a:lnTo>
                <a:lnTo>
                  <a:pt x="126" y="528"/>
                </a:lnTo>
                <a:lnTo>
                  <a:pt x="132" y="528"/>
                </a:lnTo>
                <a:lnTo>
                  <a:pt x="132" y="534"/>
                </a:lnTo>
                <a:lnTo>
                  <a:pt x="138" y="534"/>
                </a:lnTo>
                <a:lnTo>
                  <a:pt x="138" y="540"/>
                </a:lnTo>
                <a:lnTo>
                  <a:pt x="144" y="540"/>
                </a:lnTo>
                <a:lnTo>
                  <a:pt x="150" y="534"/>
                </a:lnTo>
                <a:lnTo>
                  <a:pt x="150" y="528"/>
                </a:lnTo>
                <a:lnTo>
                  <a:pt x="144" y="528"/>
                </a:lnTo>
                <a:lnTo>
                  <a:pt x="144" y="522"/>
                </a:lnTo>
                <a:lnTo>
                  <a:pt x="144" y="516"/>
                </a:lnTo>
                <a:lnTo>
                  <a:pt x="138" y="516"/>
                </a:lnTo>
                <a:lnTo>
                  <a:pt x="138" y="510"/>
                </a:lnTo>
                <a:lnTo>
                  <a:pt x="138" y="504"/>
                </a:lnTo>
                <a:lnTo>
                  <a:pt x="144" y="498"/>
                </a:lnTo>
                <a:lnTo>
                  <a:pt x="144" y="492"/>
                </a:lnTo>
                <a:lnTo>
                  <a:pt x="138" y="492"/>
                </a:lnTo>
                <a:lnTo>
                  <a:pt x="144" y="486"/>
                </a:lnTo>
                <a:lnTo>
                  <a:pt x="138" y="486"/>
                </a:lnTo>
                <a:lnTo>
                  <a:pt x="138" y="480"/>
                </a:lnTo>
                <a:lnTo>
                  <a:pt x="138" y="474"/>
                </a:lnTo>
                <a:lnTo>
                  <a:pt x="132" y="474"/>
                </a:lnTo>
                <a:lnTo>
                  <a:pt x="126" y="474"/>
                </a:lnTo>
                <a:lnTo>
                  <a:pt x="126" y="468"/>
                </a:lnTo>
                <a:lnTo>
                  <a:pt x="126" y="462"/>
                </a:lnTo>
                <a:lnTo>
                  <a:pt x="120" y="462"/>
                </a:lnTo>
                <a:lnTo>
                  <a:pt x="120" y="456"/>
                </a:lnTo>
                <a:lnTo>
                  <a:pt x="120" y="450"/>
                </a:lnTo>
                <a:lnTo>
                  <a:pt x="126" y="450"/>
                </a:lnTo>
                <a:lnTo>
                  <a:pt x="126" y="444"/>
                </a:lnTo>
                <a:lnTo>
                  <a:pt x="120" y="444"/>
                </a:lnTo>
                <a:lnTo>
                  <a:pt x="120" y="438"/>
                </a:lnTo>
                <a:lnTo>
                  <a:pt x="114" y="438"/>
                </a:lnTo>
                <a:lnTo>
                  <a:pt x="120" y="438"/>
                </a:lnTo>
                <a:lnTo>
                  <a:pt x="114" y="432"/>
                </a:lnTo>
                <a:lnTo>
                  <a:pt x="114" y="426"/>
                </a:lnTo>
                <a:lnTo>
                  <a:pt x="114" y="420"/>
                </a:lnTo>
                <a:lnTo>
                  <a:pt x="108" y="420"/>
                </a:lnTo>
                <a:lnTo>
                  <a:pt x="114" y="420"/>
                </a:lnTo>
                <a:lnTo>
                  <a:pt x="114" y="414"/>
                </a:lnTo>
                <a:lnTo>
                  <a:pt x="120" y="414"/>
                </a:lnTo>
                <a:lnTo>
                  <a:pt x="120" y="420"/>
                </a:lnTo>
                <a:lnTo>
                  <a:pt x="126" y="420"/>
                </a:lnTo>
                <a:lnTo>
                  <a:pt x="126" y="414"/>
                </a:lnTo>
                <a:lnTo>
                  <a:pt x="132" y="414"/>
                </a:lnTo>
                <a:lnTo>
                  <a:pt x="132" y="408"/>
                </a:lnTo>
                <a:lnTo>
                  <a:pt x="138" y="408"/>
                </a:lnTo>
                <a:lnTo>
                  <a:pt x="138" y="414"/>
                </a:lnTo>
                <a:lnTo>
                  <a:pt x="138" y="408"/>
                </a:lnTo>
                <a:lnTo>
                  <a:pt x="144" y="408"/>
                </a:lnTo>
                <a:lnTo>
                  <a:pt x="144" y="396"/>
                </a:lnTo>
                <a:lnTo>
                  <a:pt x="150" y="390"/>
                </a:lnTo>
                <a:lnTo>
                  <a:pt x="156" y="384"/>
                </a:lnTo>
                <a:lnTo>
                  <a:pt x="162" y="384"/>
                </a:lnTo>
                <a:lnTo>
                  <a:pt x="168" y="378"/>
                </a:lnTo>
                <a:lnTo>
                  <a:pt x="174" y="378"/>
                </a:lnTo>
                <a:lnTo>
                  <a:pt x="180" y="378"/>
                </a:lnTo>
                <a:lnTo>
                  <a:pt x="198" y="384"/>
                </a:lnTo>
                <a:lnTo>
                  <a:pt x="204" y="384"/>
                </a:lnTo>
                <a:lnTo>
                  <a:pt x="198" y="372"/>
                </a:lnTo>
                <a:lnTo>
                  <a:pt x="198" y="366"/>
                </a:lnTo>
                <a:lnTo>
                  <a:pt x="192" y="360"/>
                </a:lnTo>
                <a:lnTo>
                  <a:pt x="198" y="354"/>
                </a:lnTo>
                <a:lnTo>
                  <a:pt x="198" y="348"/>
                </a:lnTo>
                <a:lnTo>
                  <a:pt x="204" y="348"/>
                </a:lnTo>
                <a:lnTo>
                  <a:pt x="204" y="342"/>
                </a:lnTo>
                <a:lnTo>
                  <a:pt x="210" y="342"/>
                </a:lnTo>
                <a:lnTo>
                  <a:pt x="210" y="336"/>
                </a:lnTo>
                <a:lnTo>
                  <a:pt x="216" y="336"/>
                </a:lnTo>
                <a:lnTo>
                  <a:pt x="216" y="330"/>
                </a:lnTo>
                <a:lnTo>
                  <a:pt x="222" y="330"/>
                </a:lnTo>
                <a:lnTo>
                  <a:pt x="228" y="330"/>
                </a:lnTo>
                <a:lnTo>
                  <a:pt x="228" y="324"/>
                </a:lnTo>
                <a:lnTo>
                  <a:pt x="228" y="330"/>
                </a:lnTo>
                <a:lnTo>
                  <a:pt x="234" y="330"/>
                </a:lnTo>
                <a:lnTo>
                  <a:pt x="234" y="336"/>
                </a:lnTo>
                <a:lnTo>
                  <a:pt x="234" y="342"/>
                </a:lnTo>
                <a:lnTo>
                  <a:pt x="234" y="348"/>
                </a:lnTo>
                <a:lnTo>
                  <a:pt x="234" y="354"/>
                </a:lnTo>
                <a:lnTo>
                  <a:pt x="240" y="354"/>
                </a:lnTo>
                <a:lnTo>
                  <a:pt x="240" y="360"/>
                </a:lnTo>
                <a:lnTo>
                  <a:pt x="246" y="360"/>
                </a:lnTo>
                <a:lnTo>
                  <a:pt x="252" y="360"/>
                </a:lnTo>
                <a:lnTo>
                  <a:pt x="258" y="366"/>
                </a:lnTo>
                <a:lnTo>
                  <a:pt x="258" y="372"/>
                </a:lnTo>
                <a:lnTo>
                  <a:pt x="264" y="372"/>
                </a:lnTo>
                <a:lnTo>
                  <a:pt x="270" y="372"/>
                </a:lnTo>
                <a:lnTo>
                  <a:pt x="276" y="372"/>
                </a:lnTo>
                <a:lnTo>
                  <a:pt x="282" y="372"/>
                </a:lnTo>
                <a:lnTo>
                  <a:pt x="282" y="366"/>
                </a:lnTo>
                <a:lnTo>
                  <a:pt x="288" y="366"/>
                </a:lnTo>
                <a:lnTo>
                  <a:pt x="288" y="372"/>
                </a:lnTo>
                <a:lnTo>
                  <a:pt x="294" y="372"/>
                </a:lnTo>
                <a:lnTo>
                  <a:pt x="294" y="366"/>
                </a:lnTo>
                <a:lnTo>
                  <a:pt x="294" y="360"/>
                </a:lnTo>
                <a:lnTo>
                  <a:pt x="300" y="360"/>
                </a:lnTo>
                <a:lnTo>
                  <a:pt x="300" y="366"/>
                </a:lnTo>
                <a:lnTo>
                  <a:pt x="300" y="360"/>
                </a:lnTo>
                <a:lnTo>
                  <a:pt x="306" y="360"/>
                </a:lnTo>
                <a:lnTo>
                  <a:pt x="312" y="360"/>
                </a:lnTo>
                <a:lnTo>
                  <a:pt x="312" y="354"/>
                </a:lnTo>
                <a:lnTo>
                  <a:pt x="318" y="354"/>
                </a:lnTo>
                <a:lnTo>
                  <a:pt x="318" y="348"/>
                </a:lnTo>
                <a:lnTo>
                  <a:pt x="324" y="348"/>
                </a:lnTo>
                <a:lnTo>
                  <a:pt x="324" y="354"/>
                </a:lnTo>
                <a:lnTo>
                  <a:pt x="330" y="354"/>
                </a:lnTo>
                <a:lnTo>
                  <a:pt x="336" y="360"/>
                </a:lnTo>
                <a:lnTo>
                  <a:pt x="336" y="366"/>
                </a:lnTo>
                <a:lnTo>
                  <a:pt x="342" y="366"/>
                </a:lnTo>
                <a:lnTo>
                  <a:pt x="348" y="366"/>
                </a:lnTo>
                <a:lnTo>
                  <a:pt x="354" y="366"/>
                </a:lnTo>
                <a:lnTo>
                  <a:pt x="354" y="360"/>
                </a:lnTo>
                <a:lnTo>
                  <a:pt x="354" y="354"/>
                </a:lnTo>
                <a:lnTo>
                  <a:pt x="360" y="354"/>
                </a:lnTo>
                <a:lnTo>
                  <a:pt x="366" y="354"/>
                </a:lnTo>
                <a:lnTo>
                  <a:pt x="372" y="354"/>
                </a:lnTo>
                <a:lnTo>
                  <a:pt x="378" y="354"/>
                </a:lnTo>
                <a:lnTo>
                  <a:pt x="384" y="354"/>
                </a:lnTo>
                <a:lnTo>
                  <a:pt x="390" y="360"/>
                </a:lnTo>
                <a:lnTo>
                  <a:pt x="396" y="360"/>
                </a:lnTo>
                <a:lnTo>
                  <a:pt x="402" y="360"/>
                </a:lnTo>
                <a:lnTo>
                  <a:pt x="408" y="360"/>
                </a:lnTo>
                <a:lnTo>
                  <a:pt x="414" y="360"/>
                </a:lnTo>
                <a:lnTo>
                  <a:pt x="420" y="354"/>
                </a:lnTo>
                <a:lnTo>
                  <a:pt x="420" y="360"/>
                </a:lnTo>
                <a:lnTo>
                  <a:pt x="426" y="354"/>
                </a:lnTo>
                <a:lnTo>
                  <a:pt x="432" y="354"/>
                </a:lnTo>
                <a:lnTo>
                  <a:pt x="438" y="354"/>
                </a:lnTo>
                <a:lnTo>
                  <a:pt x="438" y="348"/>
                </a:lnTo>
                <a:lnTo>
                  <a:pt x="444" y="348"/>
                </a:lnTo>
                <a:lnTo>
                  <a:pt x="438" y="342"/>
                </a:lnTo>
                <a:lnTo>
                  <a:pt x="450" y="348"/>
                </a:lnTo>
                <a:lnTo>
                  <a:pt x="456" y="348"/>
                </a:lnTo>
                <a:lnTo>
                  <a:pt x="450" y="354"/>
                </a:lnTo>
                <a:lnTo>
                  <a:pt x="456" y="354"/>
                </a:lnTo>
                <a:lnTo>
                  <a:pt x="462" y="354"/>
                </a:lnTo>
                <a:lnTo>
                  <a:pt x="468" y="354"/>
                </a:lnTo>
                <a:lnTo>
                  <a:pt x="468" y="348"/>
                </a:lnTo>
                <a:lnTo>
                  <a:pt x="462" y="348"/>
                </a:lnTo>
                <a:lnTo>
                  <a:pt x="462" y="342"/>
                </a:lnTo>
                <a:lnTo>
                  <a:pt x="456" y="336"/>
                </a:lnTo>
                <a:lnTo>
                  <a:pt x="456" y="330"/>
                </a:lnTo>
                <a:lnTo>
                  <a:pt x="450" y="330"/>
                </a:lnTo>
                <a:lnTo>
                  <a:pt x="456" y="330"/>
                </a:lnTo>
                <a:lnTo>
                  <a:pt x="456" y="324"/>
                </a:lnTo>
                <a:lnTo>
                  <a:pt x="450" y="324"/>
                </a:lnTo>
                <a:lnTo>
                  <a:pt x="450" y="318"/>
                </a:lnTo>
                <a:lnTo>
                  <a:pt x="450" y="312"/>
                </a:lnTo>
                <a:lnTo>
                  <a:pt x="456" y="312"/>
                </a:lnTo>
                <a:lnTo>
                  <a:pt x="456" y="306"/>
                </a:lnTo>
                <a:lnTo>
                  <a:pt x="462" y="306"/>
                </a:lnTo>
                <a:lnTo>
                  <a:pt x="462" y="300"/>
                </a:lnTo>
                <a:lnTo>
                  <a:pt x="462" y="294"/>
                </a:lnTo>
                <a:lnTo>
                  <a:pt x="462" y="288"/>
                </a:lnTo>
                <a:lnTo>
                  <a:pt x="462" y="282"/>
                </a:lnTo>
                <a:lnTo>
                  <a:pt x="480" y="264"/>
                </a:lnTo>
                <a:lnTo>
                  <a:pt x="486" y="270"/>
                </a:lnTo>
                <a:lnTo>
                  <a:pt x="492" y="270"/>
                </a:lnTo>
                <a:lnTo>
                  <a:pt x="504" y="270"/>
                </a:lnTo>
                <a:lnTo>
                  <a:pt x="504" y="276"/>
                </a:lnTo>
                <a:lnTo>
                  <a:pt x="510" y="276"/>
                </a:lnTo>
                <a:lnTo>
                  <a:pt x="516" y="270"/>
                </a:lnTo>
                <a:lnTo>
                  <a:pt x="522" y="270"/>
                </a:lnTo>
                <a:lnTo>
                  <a:pt x="522" y="276"/>
                </a:lnTo>
                <a:lnTo>
                  <a:pt x="528" y="276"/>
                </a:lnTo>
                <a:lnTo>
                  <a:pt x="528" y="270"/>
                </a:lnTo>
                <a:lnTo>
                  <a:pt x="528" y="264"/>
                </a:lnTo>
                <a:lnTo>
                  <a:pt x="534" y="264"/>
                </a:lnTo>
                <a:lnTo>
                  <a:pt x="540" y="264"/>
                </a:lnTo>
                <a:lnTo>
                  <a:pt x="552" y="258"/>
                </a:lnTo>
                <a:lnTo>
                  <a:pt x="546" y="246"/>
                </a:lnTo>
                <a:lnTo>
                  <a:pt x="564" y="246"/>
                </a:lnTo>
                <a:lnTo>
                  <a:pt x="570" y="246"/>
                </a:lnTo>
                <a:lnTo>
                  <a:pt x="570" y="240"/>
                </a:lnTo>
                <a:lnTo>
                  <a:pt x="570" y="234"/>
                </a:lnTo>
                <a:lnTo>
                  <a:pt x="576" y="234"/>
                </a:lnTo>
                <a:lnTo>
                  <a:pt x="576" y="228"/>
                </a:lnTo>
                <a:lnTo>
                  <a:pt x="582" y="216"/>
                </a:lnTo>
                <a:lnTo>
                  <a:pt x="582" y="204"/>
                </a:lnTo>
                <a:lnTo>
                  <a:pt x="588" y="204"/>
                </a:lnTo>
                <a:lnTo>
                  <a:pt x="588" y="198"/>
                </a:lnTo>
                <a:lnTo>
                  <a:pt x="588" y="192"/>
                </a:lnTo>
                <a:lnTo>
                  <a:pt x="594" y="192"/>
                </a:lnTo>
                <a:lnTo>
                  <a:pt x="594" y="198"/>
                </a:lnTo>
                <a:lnTo>
                  <a:pt x="600" y="198"/>
                </a:lnTo>
                <a:lnTo>
                  <a:pt x="606" y="198"/>
                </a:lnTo>
                <a:lnTo>
                  <a:pt x="606" y="192"/>
                </a:lnTo>
                <a:lnTo>
                  <a:pt x="600" y="192"/>
                </a:lnTo>
                <a:lnTo>
                  <a:pt x="606" y="192"/>
                </a:lnTo>
                <a:lnTo>
                  <a:pt x="606" y="186"/>
                </a:lnTo>
                <a:lnTo>
                  <a:pt x="606" y="192"/>
                </a:lnTo>
                <a:lnTo>
                  <a:pt x="612" y="192"/>
                </a:lnTo>
                <a:lnTo>
                  <a:pt x="612" y="186"/>
                </a:lnTo>
                <a:lnTo>
                  <a:pt x="612" y="192"/>
                </a:lnTo>
                <a:lnTo>
                  <a:pt x="618" y="192"/>
                </a:lnTo>
                <a:lnTo>
                  <a:pt x="624" y="192"/>
                </a:lnTo>
                <a:lnTo>
                  <a:pt x="630" y="192"/>
                </a:lnTo>
                <a:lnTo>
                  <a:pt x="636" y="192"/>
                </a:lnTo>
                <a:lnTo>
                  <a:pt x="642" y="192"/>
                </a:lnTo>
                <a:lnTo>
                  <a:pt x="642" y="198"/>
                </a:lnTo>
                <a:lnTo>
                  <a:pt x="648" y="198"/>
                </a:lnTo>
                <a:lnTo>
                  <a:pt x="654" y="198"/>
                </a:lnTo>
                <a:lnTo>
                  <a:pt x="654" y="204"/>
                </a:lnTo>
                <a:lnTo>
                  <a:pt x="654" y="198"/>
                </a:lnTo>
                <a:lnTo>
                  <a:pt x="660" y="198"/>
                </a:lnTo>
                <a:lnTo>
                  <a:pt x="660" y="192"/>
                </a:lnTo>
                <a:lnTo>
                  <a:pt x="660" y="186"/>
                </a:lnTo>
                <a:lnTo>
                  <a:pt x="660" y="180"/>
                </a:lnTo>
                <a:lnTo>
                  <a:pt x="666" y="174"/>
                </a:lnTo>
                <a:lnTo>
                  <a:pt x="666" y="180"/>
                </a:lnTo>
                <a:lnTo>
                  <a:pt x="672" y="180"/>
                </a:lnTo>
                <a:lnTo>
                  <a:pt x="678" y="180"/>
                </a:lnTo>
                <a:lnTo>
                  <a:pt x="678" y="174"/>
                </a:lnTo>
                <a:lnTo>
                  <a:pt x="684" y="174"/>
                </a:lnTo>
                <a:lnTo>
                  <a:pt x="684" y="180"/>
                </a:lnTo>
                <a:lnTo>
                  <a:pt x="684" y="174"/>
                </a:lnTo>
                <a:lnTo>
                  <a:pt x="690" y="174"/>
                </a:lnTo>
                <a:lnTo>
                  <a:pt x="690" y="168"/>
                </a:lnTo>
                <a:lnTo>
                  <a:pt x="684" y="168"/>
                </a:lnTo>
                <a:lnTo>
                  <a:pt x="684" y="162"/>
                </a:lnTo>
                <a:lnTo>
                  <a:pt x="678" y="162"/>
                </a:lnTo>
                <a:lnTo>
                  <a:pt x="678" y="156"/>
                </a:lnTo>
                <a:lnTo>
                  <a:pt x="678" y="150"/>
                </a:lnTo>
                <a:lnTo>
                  <a:pt x="684" y="150"/>
                </a:lnTo>
                <a:lnTo>
                  <a:pt x="690" y="150"/>
                </a:lnTo>
                <a:lnTo>
                  <a:pt x="690" y="144"/>
                </a:lnTo>
                <a:lnTo>
                  <a:pt x="696" y="144"/>
                </a:lnTo>
                <a:lnTo>
                  <a:pt x="690" y="144"/>
                </a:lnTo>
                <a:lnTo>
                  <a:pt x="696" y="144"/>
                </a:lnTo>
                <a:lnTo>
                  <a:pt x="702" y="144"/>
                </a:lnTo>
                <a:lnTo>
                  <a:pt x="708" y="144"/>
                </a:lnTo>
                <a:lnTo>
                  <a:pt x="714" y="138"/>
                </a:lnTo>
                <a:lnTo>
                  <a:pt x="720" y="138"/>
                </a:lnTo>
                <a:lnTo>
                  <a:pt x="726" y="138"/>
                </a:lnTo>
                <a:lnTo>
                  <a:pt x="732" y="144"/>
                </a:lnTo>
                <a:lnTo>
                  <a:pt x="738" y="144"/>
                </a:lnTo>
                <a:lnTo>
                  <a:pt x="738" y="150"/>
                </a:lnTo>
                <a:lnTo>
                  <a:pt x="744" y="150"/>
                </a:lnTo>
                <a:lnTo>
                  <a:pt x="744" y="156"/>
                </a:lnTo>
                <a:lnTo>
                  <a:pt x="756" y="144"/>
                </a:lnTo>
                <a:lnTo>
                  <a:pt x="762" y="138"/>
                </a:lnTo>
                <a:lnTo>
                  <a:pt x="768" y="138"/>
                </a:lnTo>
                <a:lnTo>
                  <a:pt x="768" y="132"/>
                </a:lnTo>
                <a:lnTo>
                  <a:pt x="774" y="132"/>
                </a:lnTo>
                <a:lnTo>
                  <a:pt x="774" y="126"/>
                </a:lnTo>
                <a:lnTo>
                  <a:pt x="780" y="126"/>
                </a:lnTo>
                <a:lnTo>
                  <a:pt x="780" y="120"/>
                </a:lnTo>
                <a:lnTo>
                  <a:pt x="780" y="114"/>
                </a:lnTo>
                <a:lnTo>
                  <a:pt x="786" y="108"/>
                </a:lnTo>
                <a:lnTo>
                  <a:pt x="792" y="102"/>
                </a:lnTo>
                <a:lnTo>
                  <a:pt x="798" y="96"/>
                </a:lnTo>
                <a:lnTo>
                  <a:pt x="804" y="96"/>
                </a:lnTo>
                <a:lnTo>
                  <a:pt x="804" y="90"/>
                </a:lnTo>
                <a:lnTo>
                  <a:pt x="810" y="90"/>
                </a:lnTo>
                <a:lnTo>
                  <a:pt x="810" y="84"/>
                </a:lnTo>
                <a:lnTo>
                  <a:pt x="816" y="84"/>
                </a:lnTo>
                <a:lnTo>
                  <a:pt x="828" y="72"/>
                </a:lnTo>
                <a:lnTo>
                  <a:pt x="834" y="66"/>
                </a:lnTo>
                <a:lnTo>
                  <a:pt x="840" y="66"/>
                </a:lnTo>
                <a:lnTo>
                  <a:pt x="846" y="72"/>
                </a:lnTo>
                <a:lnTo>
                  <a:pt x="840" y="72"/>
                </a:lnTo>
                <a:lnTo>
                  <a:pt x="840" y="78"/>
                </a:lnTo>
                <a:lnTo>
                  <a:pt x="846" y="78"/>
                </a:lnTo>
                <a:lnTo>
                  <a:pt x="846" y="72"/>
                </a:lnTo>
                <a:lnTo>
                  <a:pt x="846" y="66"/>
                </a:lnTo>
                <a:lnTo>
                  <a:pt x="852" y="66"/>
                </a:lnTo>
                <a:lnTo>
                  <a:pt x="858" y="66"/>
                </a:lnTo>
                <a:lnTo>
                  <a:pt x="864" y="66"/>
                </a:lnTo>
                <a:lnTo>
                  <a:pt x="870" y="66"/>
                </a:lnTo>
                <a:lnTo>
                  <a:pt x="876" y="72"/>
                </a:lnTo>
                <a:lnTo>
                  <a:pt x="876" y="66"/>
                </a:lnTo>
                <a:lnTo>
                  <a:pt x="882" y="60"/>
                </a:lnTo>
                <a:lnTo>
                  <a:pt x="882" y="66"/>
                </a:lnTo>
                <a:lnTo>
                  <a:pt x="882" y="60"/>
                </a:lnTo>
                <a:lnTo>
                  <a:pt x="888" y="60"/>
                </a:lnTo>
                <a:lnTo>
                  <a:pt x="888" y="54"/>
                </a:lnTo>
                <a:lnTo>
                  <a:pt x="894" y="54"/>
                </a:lnTo>
                <a:lnTo>
                  <a:pt x="900" y="54"/>
                </a:lnTo>
                <a:lnTo>
                  <a:pt x="906" y="54"/>
                </a:lnTo>
                <a:lnTo>
                  <a:pt x="906" y="48"/>
                </a:lnTo>
                <a:lnTo>
                  <a:pt x="906" y="42"/>
                </a:lnTo>
                <a:lnTo>
                  <a:pt x="900" y="42"/>
                </a:lnTo>
                <a:lnTo>
                  <a:pt x="900" y="36"/>
                </a:lnTo>
                <a:lnTo>
                  <a:pt x="906" y="36"/>
                </a:lnTo>
                <a:lnTo>
                  <a:pt x="912" y="36"/>
                </a:lnTo>
                <a:lnTo>
                  <a:pt x="912" y="30"/>
                </a:lnTo>
                <a:lnTo>
                  <a:pt x="906" y="30"/>
                </a:lnTo>
                <a:lnTo>
                  <a:pt x="906" y="24"/>
                </a:lnTo>
                <a:lnTo>
                  <a:pt x="912" y="24"/>
                </a:lnTo>
                <a:lnTo>
                  <a:pt x="918" y="24"/>
                </a:lnTo>
                <a:lnTo>
                  <a:pt x="918" y="18"/>
                </a:lnTo>
                <a:lnTo>
                  <a:pt x="924" y="18"/>
                </a:lnTo>
                <a:lnTo>
                  <a:pt x="930" y="18"/>
                </a:lnTo>
                <a:lnTo>
                  <a:pt x="936" y="12"/>
                </a:lnTo>
                <a:lnTo>
                  <a:pt x="942" y="12"/>
                </a:lnTo>
                <a:lnTo>
                  <a:pt x="942" y="6"/>
                </a:lnTo>
                <a:lnTo>
                  <a:pt x="948" y="6"/>
                </a:lnTo>
                <a:lnTo>
                  <a:pt x="954" y="6"/>
                </a:lnTo>
                <a:lnTo>
                  <a:pt x="960" y="6"/>
                </a:lnTo>
                <a:lnTo>
                  <a:pt x="966" y="0"/>
                </a:lnTo>
                <a:lnTo>
                  <a:pt x="966" y="6"/>
                </a:lnTo>
                <a:lnTo>
                  <a:pt x="966" y="0"/>
                </a:lnTo>
                <a:lnTo>
                  <a:pt x="972" y="0"/>
                </a:lnTo>
                <a:lnTo>
                  <a:pt x="978" y="0"/>
                </a:lnTo>
                <a:lnTo>
                  <a:pt x="984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5" name="Freeform 13">
            <a:extLst>
              <a:ext uri="{FF2B5EF4-FFF2-40B4-BE49-F238E27FC236}">
                <a16:creationId xmlns:a16="http://schemas.microsoft.com/office/drawing/2014/main" id="{E2CB043D-7458-4BD4-8A50-B285CC38D351}"/>
              </a:ext>
            </a:extLst>
          </p:cNvPr>
          <p:cNvSpPr>
            <a:spLocks/>
          </p:cNvSpPr>
          <p:nvPr/>
        </p:nvSpPr>
        <p:spPr bwMode="gray">
          <a:xfrm rot="533595">
            <a:off x="5152158" y="2548921"/>
            <a:ext cx="1088563" cy="924442"/>
          </a:xfrm>
          <a:custGeom>
            <a:avLst/>
            <a:gdLst>
              <a:gd name="T0" fmla="*/ 900 w 1200"/>
              <a:gd name="T1" fmla="*/ 144 h 1092"/>
              <a:gd name="T2" fmla="*/ 930 w 1200"/>
              <a:gd name="T3" fmla="*/ 216 h 1092"/>
              <a:gd name="T4" fmla="*/ 972 w 1200"/>
              <a:gd name="T5" fmla="*/ 222 h 1092"/>
              <a:gd name="T6" fmla="*/ 1038 w 1200"/>
              <a:gd name="T7" fmla="*/ 246 h 1092"/>
              <a:gd name="T8" fmla="*/ 1104 w 1200"/>
              <a:gd name="T9" fmla="*/ 264 h 1092"/>
              <a:gd name="T10" fmla="*/ 1152 w 1200"/>
              <a:gd name="T11" fmla="*/ 276 h 1092"/>
              <a:gd name="T12" fmla="*/ 1158 w 1200"/>
              <a:gd name="T13" fmla="*/ 318 h 1092"/>
              <a:gd name="T14" fmla="*/ 1194 w 1200"/>
              <a:gd name="T15" fmla="*/ 390 h 1092"/>
              <a:gd name="T16" fmla="*/ 1146 w 1200"/>
              <a:gd name="T17" fmla="*/ 438 h 1092"/>
              <a:gd name="T18" fmla="*/ 1176 w 1200"/>
              <a:gd name="T19" fmla="*/ 504 h 1092"/>
              <a:gd name="T20" fmla="*/ 1134 w 1200"/>
              <a:gd name="T21" fmla="*/ 534 h 1092"/>
              <a:gd name="T22" fmla="*/ 1086 w 1200"/>
              <a:gd name="T23" fmla="*/ 582 h 1092"/>
              <a:gd name="T24" fmla="*/ 1098 w 1200"/>
              <a:gd name="T25" fmla="*/ 630 h 1092"/>
              <a:gd name="T26" fmla="*/ 1074 w 1200"/>
              <a:gd name="T27" fmla="*/ 678 h 1092"/>
              <a:gd name="T28" fmla="*/ 1116 w 1200"/>
              <a:gd name="T29" fmla="*/ 720 h 1092"/>
              <a:gd name="T30" fmla="*/ 1128 w 1200"/>
              <a:gd name="T31" fmla="*/ 750 h 1092"/>
              <a:gd name="T32" fmla="*/ 1092 w 1200"/>
              <a:gd name="T33" fmla="*/ 768 h 1092"/>
              <a:gd name="T34" fmla="*/ 1062 w 1200"/>
              <a:gd name="T35" fmla="*/ 822 h 1092"/>
              <a:gd name="T36" fmla="*/ 1068 w 1200"/>
              <a:gd name="T37" fmla="*/ 888 h 1092"/>
              <a:gd name="T38" fmla="*/ 1074 w 1200"/>
              <a:gd name="T39" fmla="*/ 918 h 1092"/>
              <a:gd name="T40" fmla="*/ 1038 w 1200"/>
              <a:gd name="T41" fmla="*/ 984 h 1092"/>
              <a:gd name="T42" fmla="*/ 1020 w 1200"/>
              <a:gd name="T43" fmla="*/ 1038 h 1092"/>
              <a:gd name="T44" fmla="*/ 960 w 1200"/>
              <a:gd name="T45" fmla="*/ 1068 h 1092"/>
              <a:gd name="T46" fmla="*/ 900 w 1200"/>
              <a:gd name="T47" fmla="*/ 1038 h 1092"/>
              <a:gd name="T48" fmla="*/ 852 w 1200"/>
              <a:gd name="T49" fmla="*/ 1068 h 1092"/>
              <a:gd name="T50" fmla="*/ 804 w 1200"/>
              <a:gd name="T51" fmla="*/ 1068 h 1092"/>
              <a:gd name="T52" fmla="*/ 756 w 1200"/>
              <a:gd name="T53" fmla="*/ 1020 h 1092"/>
              <a:gd name="T54" fmla="*/ 690 w 1200"/>
              <a:gd name="T55" fmla="*/ 984 h 1092"/>
              <a:gd name="T56" fmla="*/ 636 w 1200"/>
              <a:gd name="T57" fmla="*/ 996 h 1092"/>
              <a:gd name="T58" fmla="*/ 582 w 1200"/>
              <a:gd name="T59" fmla="*/ 954 h 1092"/>
              <a:gd name="T60" fmla="*/ 522 w 1200"/>
              <a:gd name="T61" fmla="*/ 996 h 1092"/>
              <a:gd name="T62" fmla="*/ 462 w 1200"/>
              <a:gd name="T63" fmla="*/ 954 h 1092"/>
              <a:gd name="T64" fmla="*/ 414 w 1200"/>
              <a:gd name="T65" fmla="*/ 948 h 1092"/>
              <a:gd name="T66" fmla="*/ 378 w 1200"/>
              <a:gd name="T67" fmla="*/ 930 h 1092"/>
              <a:gd name="T68" fmla="*/ 306 w 1200"/>
              <a:gd name="T69" fmla="*/ 906 h 1092"/>
              <a:gd name="T70" fmla="*/ 276 w 1200"/>
              <a:gd name="T71" fmla="*/ 930 h 1092"/>
              <a:gd name="T72" fmla="*/ 240 w 1200"/>
              <a:gd name="T73" fmla="*/ 888 h 1092"/>
              <a:gd name="T74" fmla="*/ 192 w 1200"/>
              <a:gd name="T75" fmla="*/ 888 h 1092"/>
              <a:gd name="T76" fmla="*/ 174 w 1200"/>
              <a:gd name="T77" fmla="*/ 870 h 1092"/>
              <a:gd name="T78" fmla="*/ 132 w 1200"/>
              <a:gd name="T79" fmla="*/ 828 h 1092"/>
              <a:gd name="T80" fmla="*/ 174 w 1200"/>
              <a:gd name="T81" fmla="*/ 780 h 1092"/>
              <a:gd name="T82" fmla="*/ 168 w 1200"/>
              <a:gd name="T83" fmla="*/ 696 h 1092"/>
              <a:gd name="T84" fmla="*/ 84 w 1200"/>
              <a:gd name="T85" fmla="*/ 666 h 1092"/>
              <a:gd name="T86" fmla="*/ 60 w 1200"/>
              <a:gd name="T87" fmla="*/ 582 h 1092"/>
              <a:gd name="T88" fmla="*/ 72 w 1200"/>
              <a:gd name="T89" fmla="*/ 528 h 1092"/>
              <a:gd name="T90" fmla="*/ 72 w 1200"/>
              <a:gd name="T91" fmla="*/ 468 h 1092"/>
              <a:gd name="T92" fmla="*/ 72 w 1200"/>
              <a:gd name="T93" fmla="*/ 408 h 1092"/>
              <a:gd name="T94" fmla="*/ 0 w 1200"/>
              <a:gd name="T95" fmla="*/ 360 h 1092"/>
              <a:gd name="T96" fmla="*/ 54 w 1200"/>
              <a:gd name="T97" fmla="*/ 276 h 1092"/>
              <a:gd name="T98" fmla="*/ 72 w 1200"/>
              <a:gd name="T99" fmla="*/ 180 h 1092"/>
              <a:gd name="T100" fmla="*/ 126 w 1200"/>
              <a:gd name="T101" fmla="*/ 180 h 1092"/>
              <a:gd name="T102" fmla="*/ 174 w 1200"/>
              <a:gd name="T103" fmla="*/ 174 h 1092"/>
              <a:gd name="T104" fmla="*/ 198 w 1200"/>
              <a:gd name="T105" fmla="*/ 126 h 1092"/>
              <a:gd name="T106" fmla="*/ 252 w 1200"/>
              <a:gd name="T107" fmla="*/ 84 h 1092"/>
              <a:gd name="T108" fmla="*/ 270 w 1200"/>
              <a:gd name="T109" fmla="*/ 36 h 1092"/>
              <a:gd name="T110" fmla="*/ 348 w 1200"/>
              <a:gd name="T111" fmla="*/ 0 h 1092"/>
              <a:gd name="T112" fmla="*/ 420 w 1200"/>
              <a:gd name="T113" fmla="*/ 18 h 1092"/>
              <a:gd name="T114" fmla="*/ 486 w 1200"/>
              <a:gd name="T115" fmla="*/ 54 h 1092"/>
              <a:gd name="T116" fmla="*/ 558 w 1200"/>
              <a:gd name="T117" fmla="*/ 54 h 1092"/>
              <a:gd name="T118" fmla="*/ 630 w 1200"/>
              <a:gd name="T119" fmla="*/ 36 h 1092"/>
              <a:gd name="T120" fmla="*/ 678 w 1200"/>
              <a:gd name="T121" fmla="*/ 54 h 1092"/>
              <a:gd name="T122" fmla="*/ 756 w 1200"/>
              <a:gd name="T123" fmla="*/ 114 h 1092"/>
              <a:gd name="T124" fmla="*/ 840 w 1200"/>
              <a:gd name="T125" fmla="*/ 90 h 10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200" h="1092">
                <a:moveTo>
                  <a:pt x="852" y="90"/>
                </a:moveTo>
                <a:lnTo>
                  <a:pt x="858" y="96"/>
                </a:lnTo>
                <a:lnTo>
                  <a:pt x="864" y="96"/>
                </a:lnTo>
                <a:lnTo>
                  <a:pt x="870" y="96"/>
                </a:lnTo>
                <a:lnTo>
                  <a:pt x="876" y="96"/>
                </a:lnTo>
                <a:lnTo>
                  <a:pt x="882" y="96"/>
                </a:lnTo>
                <a:lnTo>
                  <a:pt x="882" y="102"/>
                </a:lnTo>
                <a:lnTo>
                  <a:pt x="888" y="102"/>
                </a:lnTo>
                <a:lnTo>
                  <a:pt x="894" y="102"/>
                </a:lnTo>
                <a:lnTo>
                  <a:pt x="894" y="108"/>
                </a:lnTo>
                <a:lnTo>
                  <a:pt x="894" y="120"/>
                </a:lnTo>
                <a:lnTo>
                  <a:pt x="894" y="126"/>
                </a:lnTo>
                <a:lnTo>
                  <a:pt x="894" y="120"/>
                </a:lnTo>
                <a:lnTo>
                  <a:pt x="900" y="120"/>
                </a:lnTo>
                <a:lnTo>
                  <a:pt x="900" y="126"/>
                </a:lnTo>
                <a:lnTo>
                  <a:pt x="906" y="126"/>
                </a:lnTo>
                <a:lnTo>
                  <a:pt x="906" y="132"/>
                </a:lnTo>
                <a:lnTo>
                  <a:pt x="906" y="138"/>
                </a:lnTo>
                <a:lnTo>
                  <a:pt x="900" y="138"/>
                </a:lnTo>
                <a:lnTo>
                  <a:pt x="900" y="144"/>
                </a:lnTo>
                <a:lnTo>
                  <a:pt x="894" y="144"/>
                </a:lnTo>
                <a:lnTo>
                  <a:pt x="894" y="150"/>
                </a:lnTo>
                <a:lnTo>
                  <a:pt x="900" y="150"/>
                </a:lnTo>
                <a:lnTo>
                  <a:pt x="900" y="156"/>
                </a:lnTo>
                <a:lnTo>
                  <a:pt x="906" y="162"/>
                </a:lnTo>
                <a:lnTo>
                  <a:pt x="912" y="162"/>
                </a:lnTo>
                <a:lnTo>
                  <a:pt x="912" y="168"/>
                </a:lnTo>
                <a:lnTo>
                  <a:pt x="912" y="174"/>
                </a:lnTo>
                <a:lnTo>
                  <a:pt x="918" y="174"/>
                </a:lnTo>
                <a:lnTo>
                  <a:pt x="918" y="180"/>
                </a:lnTo>
                <a:lnTo>
                  <a:pt x="918" y="186"/>
                </a:lnTo>
                <a:lnTo>
                  <a:pt x="912" y="186"/>
                </a:lnTo>
                <a:lnTo>
                  <a:pt x="918" y="192"/>
                </a:lnTo>
                <a:lnTo>
                  <a:pt x="924" y="186"/>
                </a:lnTo>
                <a:lnTo>
                  <a:pt x="924" y="192"/>
                </a:lnTo>
                <a:lnTo>
                  <a:pt x="924" y="198"/>
                </a:lnTo>
                <a:lnTo>
                  <a:pt x="924" y="204"/>
                </a:lnTo>
                <a:lnTo>
                  <a:pt x="930" y="204"/>
                </a:lnTo>
                <a:lnTo>
                  <a:pt x="930" y="210"/>
                </a:lnTo>
                <a:lnTo>
                  <a:pt x="930" y="216"/>
                </a:lnTo>
                <a:lnTo>
                  <a:pt x="924" y="216"/>
                </a:lnTo>
                <a:lnTo>
                  <a:pt x="924" y="222"/>
                </a:lnTo>
                <a:lnTo>
                  <a:pt x="930" y="222"/>
                </a:lnTo>
                <a:lnTo>
                  <a:pt x="930" y="228"/>
                </a:lnTo>
                <a:lnTo>
                  <a:pt x="936" y="228"/>
                </a:lnTo>
                <a:lnTo>
                  <a:pt x="936" y="234"/>
                </a:lnTo>
                <a:lnTo>
                  <a:pt x="942" y="234"/>
                </a:lnTo>
                <a:lnTo>
                  <a:pt x="948" y="234"/>
                </a:lnTo>
                <a:lnTo>
                  <a:pt x="948" y="240"/>
                </a:lnTo>
                <a:lnTo>
                  <a:pt x="954" y="240"/>
                </a:lnTo>
                <a:lnTo>
                  <a:pt x="954" y="234"/>
                </a:lnTo>
                <a:lnTo>
                  <a:pt x="954" y="228"/>
                </a:lnTo>
                <a:lnTo>
                  <a:pt x="960" y="228"/>
                </a:lnTo>
                <a:lnTo>
                  <a:pt x="954" y="228"/>
                </a:lnTo>
                <a:lnTo>
                  <a:pt x="954" y="222"/>
                </a:lnTo>
                <a:lnTo>
                  <a:pt x="960" y="222"/>
                </a:lnTo>
                <a:lnTo>
                  <a:pt x="960" y="216"/>
                </a:lnTo>
                <a:lnTo>
                  <a:pt x="966" y="216"/>
                </a:lnTo>
                <a:lnTo>
                  <a:pt x="966" y="222"/>
                </a:lnTo>
                <a:lnTo>
                  <a:pt x="972" y="222"/>
                </a:lnTo>
                <a:lnTo>
                  <a:pt x="978" y="216"/>
                </a:lnTo>
                <a:lnTo>
                  <a:pt x="984" y="216"/>
                </a:lnTo>
                <a:lnTo>
                  <a:pt x="990" y="216"/>
                </a:lnTo>
                <a:lnTo>
                  <a:pt x="996" y="216"/>
                </a:lnTo>
                <a:lnTo>
                  <a:pt x="996" y="222"/>
                </a:lnTo>
                <a:lnTo>
                  <a:pt x="996" y="228"/>
                </a:lnTo>
                <a:lnTo>
                  <a:pt x="1002" y="234"/>
                </a:lnTo>
                <a:lnTo>
                  <a:pt x="1002" y="228"/>
                </a:lnTo>
                <a:lnTo>
                  <a:pt x="1008" y="228"/>
                </a:lnTo>
                <a:lnTo>
                  <a:pt x="1008" y="234"/>
                </a:lnTo>
                <a:lnTo>
                  <a:pt x="1014" y="234"/>
                </a:lnTo>
                <a:lnTo>
                  <a:pt x="1014" y="240"/>
                </a:lnTo>
                <a:lnTo>
                  <a:pt x="1020" y="240"/>
                </a:lnTo>
                <a:lnTo>
                  <a:pt x="1026" y="240"/>
                </a:lnTo>
                <a:lnTo>
                  <a:pt x="1020" y="246"/>
                </a:lnTo>
                <a:lnTo>
                  <a:pt x="1020" y="252"/>
                </a:lnTo>
                <a:lnTo>
                  <a:pt x="1026" y="252"/>
                </a:lnTo>
                <a:lnTo>
                  <a:pt x="1032" y="252"/>
                </a:lnTo>
                <a:lnTo>
                  <a:pt x="1032" y="246"/>
                </a:lnTo>
                <a:lnTo>
                  <a:pt x="1038" y="246"/>
                </a:lnTo>
                <a:lnTo>
                  <a:pt x="1038" y="240"/>
                </a:lnTo>
                <a:lnTo>
                  <a:pt x="1044" y="240"/>
                </a:lnTo>
                <a:lnTo>
                  <a:pt x="1044" y="246"/>
                </a:lnTo>
                <a:lnTo>
                  <a:pt x="1050" y="246"/>
                </a:lnTo>
                <a:lnTo>
                  <a:pt x="1050" y="240"/>
                </a:lnTo>
                <a:lnTo>
                  <a:pt x="1056" y="240"/>
                </a:lnTo>
                <a:lnTo>
                  <a:pt x="1062" y="240"/>
                </a:lnTo>
                <a:lnTo>
                  <a:pt x="1062" y="246"/>
                </a:lnTo>
                <a:lnTo>
                  <a:pt x="1062" y="252"/>
                </a:lnTo>
                <a:lnTo>
                  <a:pt x="1062" y="258"/>
                </a:lnTo>
                <a:lnTo>
                  <a:pt x="1062" y="264"/>
                </a:lnTo>
                <a:lnTo>
                  <a:pt x="1062" y="270"/>
                </a:lnTo>
                <a:lnTo>
                  <a:pt x="1068" y="270"/>
                </a:lnTo>
                <a:lnTo>
                  <a:pt x="1074" y="270"/>
                </a:lnTo>
                <a:lnTo>
                  <a:pt x="1080" y="270"/>
                </a:lnTo>
                <a:lnTo>
                  <a:pt x="1080" y="264"/>
                </a:lnTo>
                <a:lnTo>
                  <a:pt x="1086" y="264"/>
                </a:lnTo>
                <a:lnTo>
                  <a:pt x="1092" y="264"/>
                </a:lnTo>
                <a:lnTo>
                  <a:pt x="1098" y="264"/>
                </a:lnTo>
                <a:lnTo>
                  <a:pt x="1104" y="264"/>
                </a:lnTo>
                <a:lnTo>
                  <a:pt x="1104" y="258"/>
                </a:lnTo>
                <a:lnTo>
                  <a:pt x="1098" y="258"/>
                </a:lnTo>
                <a:lnTo>
                  <a:pt x="1104" y="258"/>
                </a:lnTo>
                <a:lnTo>
                  <a:pt x="1110" y="258"/>
                </a:lnTo>
                <a:lnTo>
                  <a:pt x="1116" y="258"/>
                </a:lnTo>
                <a:lnTo>
                  <a:pt x="1116" y="252"/>
                </a:lnTo>
                <a:lnTo>
                  <a:pt x="1122" y="252"/>
                </a:lnTo>
                <a:lnTo>
                  <a:pt x="1128" y="252"/>
                </a:lnTo>
                <a:lnTo>
                  <a:pt x="1134" y="252"/>
                </a:lnTo>
                <a:lnTo>
                  <a:pt x="1140" y="252"/>
                </a:lnTo>
                <a:lnTo>
                  <a:pt x="1146" y="252"/>
                </a:lnTo>
                <a:lnTo>
                  <a:pt x="1146" y="258"/>
                </a:lnTo>
                <a:lnTo>
                  <a:pt x="1146" y="264"/>
                </a:lnTo>
                <a:lnTo>
                  <a:pt x="1146" y="270"/>
                </a:lnTo>
                <a:lnTo>
                  <a:pt x="1146" y="276"/>
                </a:lnTo>
                <a:lnTo>
                  <a:pt x="1152" y="276"/>
                </a:lnTo>
                <a:lnTo>
                  <a:pt x="1146" y="276"/>
                </a:lnTo>
                <a:lnTo>
                  <a:pt x="1146" y="282"/>
                </a:lnTo>
                <a:lnTo>
                  <a:pt x="1152" y="282"/>
                </a:lnTo>
                <a:lnTo>
                  <a:pt x="1152" y="276"/>
                </a:lnTo>
                <a:lnTo>
                  <a:pt x="1152" y="282"/>
                </a:lnTo>
                <a:lnTo>
                  <a:pt x="1158" y="282"/>
                </a:lnTo>
                <a:lnTo>
                  <a:pt x="1164" y="282"/>
                </a:lnTo>
                <a:lnTo>
                  <a:pt x="1164" y="288"/>
                </a:lnTo>
                <a:lnTo>
                  <a:pt x="1170" y="288"/>
                </a:lnTo>
                <a:lnTo>
                  <a:pt x="1170" y="294"/>
                </a:lnTo>
                <a:lnTo>
                  <a:pt x="1164" y="294"/>
                </a:lnTo>
                <a:lnTo>
                  <a:pt x="1170" y="294"/>
                </a:lnTo>
                <a:lnTo>
                  <a:pt x="1170" y="300"/>
                </a:lnTo>
                <a:lnTo>
                  <a:pt x="1170" y="294"/>
                </a:lnTo>
                <a:lnTo>
                  <a:pt x="1170" y="300"/>
                </a:lnTo>
                <a:lnTo>
                  <a:pt x="1170" y="306"/>
                </a:lnTo>
                <a:lnTo>
                  <a:pt x="1170" y="300"/>
                </a:lnTo>
                <a:lnTo>
                  <a:pt x="1164" y="300"/>
                </a:lnTo>
                <a:lnTo>
                  <a:pt x="1164" y="306"/>
                </a:lnTo>
                <a:lnTo>
                  <a:pt x="1158" y="306"/>
                </a:lnTo>
                <a:lnTo>
                  <a:pt x="1158" y="312"/>
                </a:lnTo>
                <a:lnTo>
                  <a:pt x="1152" y="312"/>
                </a:lnTo>
                <a:lnTo>
                  <a:pt x="1152" y="318"/>
                </a:lnTo>
                <a:lnTo>
                  <a:pt x="1158" y="318"/>
                </a:lnTo>
                <a:lnTo>
                  <a:pt x="1158" y="324"/>
                </a:lnTo>
                <a:lnTo>
                  <a:pt x="1158" y="330"/>
                </a:lnTo>
                <a:lnTo>
                  <a:pt x="1158" y="336"/>
                </a:lnTo>
                <a:lnTo>
                  <a:pt x="1158" y="330"/>
                </a:lnTo>
                <a:lnTo>
                  <a:pt x="1164" y="330"/>
                </a:lnTo>
                <a:lnTo>
                  <a:pt x="1170" y="330"/>
                </a:lnTo>
                <a:lnTo>
                  <a:pt x="1170" y="336"/>
                </a:lnTo>
                <a:lnTo>
                  <a:pt x="1176" y="336"/>
                </a:lnTo>
                <a:lnTo>
                  <a:pt x="1182" y="336"/>
                </a:lnTo>
                <a:lnTo>
                  <a:pt x="1182" y="342"/>
                </a:lnTo>
                <a:lnTo>
                  <a:pt x="1188" y="342"/>
                </a:lnTo>
                <a:lnTo>
                  <a:pt x="1188" y="348"/>
                </a:lnTo>
                <a:lnTo>
                  <a:pt x="1182" y="354"/>
                </a:lnTo>
                <a:lnTo>
                  <a:pt x="1188" y="360"/>
                </a:lnTo>
                <a:lnTo>
                  <a:pt x="1188" y="366"/>
                </a:lnTo>
                <a:lnTo>
                  <a:pt x="1188" y="372"/>
                </a:lnTo>
                <a:lnTo>
                  <a:pt x="1194" y="372"/>
                </a:lnTo>
                <a:lnTo>
                  <a:pt x="1194" y="378"/>
                </a:lnTo>
                <a:lnTo>
                  <a:pt x="1194" y="384"/>
                </a:lnTo>
                <a:lnTo>
                  <a:pt x="1194" y="390"/>
                </a:lnTo>
                <a:lnTo>
                  <a:pt x="1200" y="390"/>
                </a:lnTo>
                <a:lnTo>
                  <a:pt x="1194" y="396"/>
                </a:lnTo>
                <a:lnTo>
                  <a:pt x="1188" y="396"/>
                </a:lnTo>
                <a:lnTo>
                  <a:pt x="1182" y="402"/>
                </a:lnTo>
                <a:lnTo>
                  <a:pt x="1176" y="408"/>
                </a:lnTo>
                <a:lnTo>
                  <a:pt x="1176" y="420"/>
                </a:lnTo>
                <a:lnTo>
                  <a:pt x="1170" y="420"/>
                </a:lnTo>
                <a:lnTo>
                  <a:pt x="1170" y="426"/>
                </a:lnTo>
                <a:lnTo>
                  <a:pt x="1170" y="420"/>
                </a:lnTo>
                <a:lnTo>
                  <a:pt x="1164" y="420"/>
                </a:lnTo>
                <a:lnTo>
                  <a:pt x="1164" y="426"/>
                </a:lnTo>
                <a:lnTo>
                  <a:pt x="1158" y="426"/>
                </a:lnTo>
                <a:lnTo>
                  <a:pt x="1158" y="432"/>
                </a:lnTo>
                <a:lnTo>
                  <a:pt x="1152" y="432"/>
                </a:lnTo>
                <a:lnTo>
                  <a:pt x="1152" y="426"/>
                </a:lnTo>
                <a:lnTo>
                  <a:pt x="1146" y="426"/>
                </a:lnTo>
                <a:lnTo>
                  <a:pt x="1146" y="432"/>
                </a:lnTo>
                <a:lnTo>
                  <a:pt x="1140" y="432"/>
                </a:lnTo>
                <a:lnTo>
                  <a:pt x="1146" y="432"/>
                </a:lnTo>
                <a:lnTo>
                  <a:pt x="1146" y="438"/>
                </a:lnTo>
                <a:lnTo>
                  <a:pt x="1146" y="444"/>
                </a:lnTo>
                <a:lnTo>
                  <a:pt x="1152" y="450"/>
                </a:lnTo>
                <a:lnTo>
                  <a:pt x="1146" y="450"/>
                </a:lnTo>
                <a:lnTo>
                  <a:pt x="1152" y="450"/>
                </a:lnTo>
                <a:lnTo>
                  <a:pt x="1152" y="456"/>
                </a:lnTo>
                <a:lnTo>
                  <a:pt x="1158" y="456"/>
                </a:lnTo>
                <a:lnTo>
                  <a:pt x="1158" y="462"/>
                </a:lnTo>
                <a:lnTo>
                  <a:pt x="1152" y="462"/>
                </a:lnTo>
                <a:lnTo>
                  <a:pt x="1152" y="468"/>
                </a:lnTo>
                <a:lnTo>
                  <a:pt x="1152" y="474"/>
                </a:lnTo>
                <a:lnTo>
                  <a:pt x="1158" y="474"/>
                </a:lnTo>
                <a:lnTo>
                  <a:pt x="1158" y="480"/>
                </a:lnTo>
                <a:lnTo>
                  <a:pt x="1158" y="486"/>
                </a:lnTo>
                <a:lnTo>
                  <a:pt x="1164" y="486"/>
                </a:lnTo>
                <a:lnTo>
                  <a:pt x="1170" y="486"/>
                </a:lnTo>
                <a:lnTo>
                  <a:pt x="1170" y="492"/>
                </a:lnTo>
                <a:lnTo>
                  <a:pt x="1170" y="498"/>
                </a:lnTo>
                <a:lnTo>
                  <a:pt x="1176" y="498"/>
                </a:lnTo>
                <a:lnTo>
                  <a:pt x="1170" y="504"/>
                </a:lnTo>
                <a:lnTo>
                  <a:pt x="1176" y="504"/>
                </a:lnTo>
                <a:lnTo>
                  <a:pt x="1176" y="510"/>
                </a:lnTo>
                <a:lnTo>
                  <a:pt x="1170" y="516"/>
                </a:lnTo>
                <a:lnTo>
                  <a:pt x="1170" y="522"/>
                </a:lnTo>
                <a:lnTo>
                  <a:pt x="1170" y="528"/>
                </a:lnTo>
                <a:lnTo>
                  <a:pt x="1176" y="528"/>
                </a:lnTo>
                <a:lnTo>
                  <a:pt x="1176" y="534"/>
                </a:lnTo>
                <a:lnTo>
                  <a:pt x="1176" y="540"/>
                </a:lnTo>
                <a:lnTo>
                  <a:pt x="1182" y="540"/>
                </a:lnTo>
                <a:lnTo>
                  <a:pt x="1182" y="546"/>
                </a:lnTo>
                <a:lnTo>
                  <a:pt x="1176" y="552"/>
                </a:lnTo>
                <a:lnTo>
                  <a:pt x="1170" y="552"/>
                </a:lnTo>
                <a:lnTo>
                  <a:pt x="1170" y="546"/>
                </a:lnTo>
                <a:lnTo>
                  <a:pt x="1164" y="546"/>
                </a:lnTo>
                <a:lnTo>
                  <a:pt x="1164" y="540"/>
                </a:lnTo>
                <a:lnTo>
                  <a:pt x="1158" y="540"/>
                </a:lnTo>
                <a:lnTo>
                  <a:pt x="1152" y="540"/>
                </a:lnTo>
                <a:lnTo>
                  <a:pt x="1146" y="540"/>
                </a:lnTo>
                <a:lnTo>
                  <a:pt x="1140" y="540"/>
                </a:lnTo>
                <a:lnTo>
                  <a:pt x="1140" y="534"/>
                </a:lnTo>
                <a:lnTo>
                  <a:pt x="1134" y="534"/>
                </a:lnTo>
                <a:lnTo>
                  <a:pt x="1128" y="534"/>
                </a:lnTo>
                <a:lnTo>
                  <a:pt x="1122" y="534"/>
                </a:lnTo>
                <a:lnTo>
                  <a:pt x="1122" y="528"/>
                </a:lnTo>
                <a:lnTo>
                  <a:pt x="1116" y="528"/>
                </a:lnTo>
                <a:lnTo>
                  <a:pt x="1116" y="534"/>
                </a:lnTo>
                <a:lnTo>
                  <a:pt x="1116" y="540"/>
                </a:lnTo>
                <a:lnTo>
                  <a:pt x="1122" y="540"/>
                </a:lnTo>
                <a:lnTo>
                  <a:pt x="1128" y="546"/>
                </a:lnTo>
                <a:lnTo>
                  <a:pt x="1134" y="552"/>
                </a:lnTo>
                <a:lnTo>
                  <a:pt x="1134" y="558"/>
                </a:lnTo>
                <a:lnTo>
                  <a:pt x="1128" y="558"/>
                </a:lnTo>
                <a:lnTo>
                  <a:pt x="1122" y="558"/>
                </a:lnTo>
                <a:lnTo>
                  <a:pt x="1116" y="564"/>
                </a:lnTo>
                <a:lnTo>
                  <a:pt x="1110" y="564"/>
                </a:lnTo>
                <a:lnTo>
                  <a:pt x="1110" y="570"/>
                </a:lnTo>
                <a:lnTo>
                  <a:pt x="1110" y="576"/>
                </a:lnTo>
                <a:lnTo>
                  <a:pt x="1104" y="576"/>
                </a:lnTo>
                <a:lnTo>
                  <a:pt x="1098" y="576"/>
                </a:lnTo>
                <a:lnTo>
                  <a:pt x="1092" y="576"/>
                </a:lnTo>
                <a:lnTo>
                  <a:pt x="1086" y="582"/>
                </a:lnTo>
                <a:lnTo>
                  <a:pt x="1086" y="576"/>
                </a:lnTo>
                <a:lnTo>
                  <a:pt x="1080" y="576"/>
                </a:lnTo>
                <a:lnTo>
                  <a:pt x="1074" y="576"/>
                </a:lnTo>
                <a:lnTo>
                  <a:pt x="1068" y="570"/>
                </a:lnTo>
                <a:lnTo>
                  <a:pt x="1068" y="576"/>
                </a:lnTo>
                <a:lnTo>
                  <a:pt x="1068" y="582"/>
                </a:lnTo>
                <a:lnTo>
                  <a:pt x="1074" y="588"/>
                </a:lnTo>
                <a:lnTo>
                  <a:pt x="1080" y="594"/>
                </a:lnTo>
                <a:lnTo>
                  <a:pt x="1086" y="594"/>
                </a:lnTo>
                <a:lnTo>
                  <a:pt x="1080" y="594"/>
                </a:lnTo>
                <a:lnTo>
                  <a:pt x="1080" y="600"/>
                </a:lnTo>
                <a:lnTo>
                  <a:pt x="1080" y="606"/>
                </a:lnTo>
                <a:lnTo>
                  <a:pt x="1086" y="606"/>
                </a:lnTo>
                <a:lnTo>
                  <a:pt x="1086" y="612"/>
                </a:lnTo>
                <a:lnTo>
                  <a:pt x="1092" y="612"/>
                </a:lnTo>
                <a:lnTo>
                  <a:pt x="1092" y="618"/>
                </a:lnTo>
                <a:lnTo>
                  <a:pt x="1098" y="618"/>
                </a:lnTo>
                <a:lnTo>
                  <a:pt x="1098" y="624"/>
                </a:lnTo>
                <a:lnTo>
                  <a:pt x="1104" y="630"/>
                </a:lnTo>
                <a:lnTo>
                  <a:pt x="1098" y="630"/>
                </a:lnTo>
                <a:lnTo>
                  <a:pt x="1092" y="630"/>
                </a:lnTo>
                <a:lnTo>
                  <a:pt x="1092" y="636"/>
                </a:lnTo>
                <a:lnTo>
                  <a:pt x="1086" y="636"/>
                </a:lnTo>
                <a:lnTo>
                  <a:pt x="1086" y="642"/>
                </a:lnTo>
                <a:lnTo>
                  <a:pt x="1092" y="642"/>
                </a:lnTo>
                <a:lnTo>
                  <a:pt x="1092" y="648"/>
                </a:lnTo>
                <a:lnTo>
                  <a:pt x="1086" y="648"/>
                </a:lnTo>
                <a:lnTo>
                  <a:pt x="1080" y="648"/>
                </a:lnTo>
                <a:lnTo>
                  <a:pt x="1080" y="654"/>
                </a:lnTo>
                <a:lnTo>
                  <a:pt x="1080" y="660"/>
                </a:lnTo>
                <a:lnTo>
                  <a:pt x="1074" y="660"/>
                </a:lnTo>
                <a:lnTo>
                  <a:pt x="1074" y="654"/>
                </a:lnTo>
                <a:lnTo>
                  <a:pt x="1068" y="654"/>
                </a:lnTo>
                <a:lnTo>
                  <a:pt x="1068" y="660"/>
                </a:lnTo>
                <a:lnTo>
                  <a:pt x="1068" y="666"/>
                </a:lnTo>
                <a:lnTo>
                  <a:pt x="1074" y="666"/>
                </a:lnTo>
                <a:lnTo>
                  <a:pt x="1074" y="672"/>
                </a:lnTo>
                <a:lnTo>
                  <a:pt x="1068" y="672"/>
                </a:lnTo>
                <a:lnTo>
                  <a:pt x="1068" y="678"/>
                </a:lnTo>
                <a:lnTo>
                  <a:pt x="1074" y="678"/>
                </a:lnTo>
                <a:lnTo>
                  <a:pt x="1074" y="672"/>
                </a:lnTo>
                <a:lnTo>
                  <a:pt x="1080" y="678"/>
                </a:lnTo>
                <a:lnTo>
                  <a:pt x="1086" y="684"/>
                </a:lnTo>
                <a:lnTo>
                  <a:pt x="1092" y="684"/>
                </a:lnTo>
                <a:lnTo>
                  <a:pt x="1092" y="690"/>
                </a:lnTo>
                <a:lnTo>
                  <a:pt x="1092" y="696"/>
                </a:lnTo>
                <a:lnTo>
                  <a:pt x="1098" y="696"/>
                </a:lnTo>
                <a:lnTo>
                  <a:pt x="1104" y="696"/>
                </a:lnTo>
                <a:lnTo>
                  <a:pt x="1104" y="702"/>
                </a:lnTo>
                <a:lnTo>
                  <a:pt x="1110" y="702"/>
                </a:lnTo>
                <a:lnTo>
                  <a:pt x="1104" y="702"/>
                </a:lnTo>
                <a:lnTo>
                  <a:pt x="1104" y="708"/>
                </a:lnTo>
                <a:lnTo>
                  <a:pt x="1110" y="708"/>
                </a:lnTo>
                <a:lnTo>
                  <a:pt x="1116" y="708"/>
                </a:lnTo>
                <a:lnTo>
                  <a:pt x="1116" y="714"/>
                </a:lnTo>
                <a:lnTo>
                  <a:pt x="1110" y="714"/>
                </a:lnTo>
                <a:lnTo>
                  <a:pt x="1116" y="714"/>
                </a:lnTo>
                <a:lnTo>
                  <a:pt x="1110" y="714"/>
                </a:lnTo>
                <a:lnTo>
                  <a:pt x="1116" y="714"/>
                </a:lnTo>
                <a:lnTo>
                  <a:pt x="1116" y="720"/>
                </a:lnTo>
                <a:lnTo>
                  <a:pt x="1110" y="720"/>
                </a:lnTo>
                <a:lnTo>
                  <a:pt x="1116" y="720"/>
                </a:lnTo>
                <a:lnTo>
                  <a:pt x="1110" y="720"/>
                </a:lnTo>
                <a:lnTo>
                  <a:pt x="1110" y="726"/>
                </a:lnTo>
                <a:lnTo>
                  <a:pt x="1116" y="726"/>
                </a:lnTo>
                <a:lnTo>
                  <a:pt x="1116" y="720"/>
                </a:lnTo>
                <a:lnTo>
                  <a:pt x="1122" y="726"/>
                </a:lnTo>
                <a:lnTo>
                  <a:pt x="1122" y="720"/>
                </a:lnTo>
                <a:lnTo>
                  <a:pt x="1128" y="720"/>
                </a:lnTo>
                <a:lnTo>
                  <a:pt x="1128" y="726"/>
                </a:lnTo>
                <a:lnTo>
                  <a:pt x="1122" y="726"/>
                </a:lnTo>
                <a:lnTo>
                  <a:pt x="1122" y="732"/>
                </a:lnTo>
                <a:lnTo>
                  <a:pt x="1116" y="732"/>
                </a:lnTo>
                <a:lnTo>
                  <a:pt x="1116" y="738"/>
                </a:lnTo>
                <a:lnTo>
                  <a:pt x="1116" y="744"/>
                </a:lnTo>
                <a:lnTo>
                  <a:pt x="1122" y="744"/>
                </a:lnTo>
                <a:lnTo>
                  <a:pt x="1116" y="750"/>
                </a:lnTo>
                <a:lnTo>
                  <a:pt x="1122" y="756"/>
                </a:lnTo>
                <a:lnTo>
                  <a:pt x="1128" y="756"/>
                </a:lnTo>
                <a:lnTo>
                  <a:pt x="1128" y="750"/>
                </a:lnTo>
                <a:lnTo>
                  <a:pt x="1128" y="756"/>
                </a:lnTo>
                <a:lnTo>
                  <a:pt x="1128" y="762"/>
                </a:lnTo>
                <a:lnTo>
                  <a:pt x="1122" y="762"/>
                </a:lnTo>
                <a:lnTo>
                  <a:pt x="1122" y="756"/>
                </a:lnTo>
                <a:lnTo>
                  <a:pt x="1122" y="762"/>
                </a:lnTo>
                <a:lnTo>
                  <a:pt x="1122" y="756"/>
                </a:lnTo>
                <a:lnTo>
                  <a:pt x="1116" y="756"/>
                </a:lnTo>
                <a:lnTo>
                  <a:pt x="1116" y="750"/>
                </a:lnTo>
                <a:lnTo>
                  <a:pt x="1110" y="750"/>
                </a:lnTo>
                <a:lnTo>
                  <a:pt x="1104" y="750"/>
                </a:lnTo>
                <a:lnTo>
                  <a:pt x="1098" y="750"/>
                </a:lnTo>
                <a:lnTo>
                  <a:pt x="1098" y="744"/>
                </a:lnTo>
                <a:lnTo>
                  <a:pt x="1092" y="744"/>
                </a:lnTo>
                <a:lnTo>
                  <a:pt x="1092" y="750"/>
                </a:lnTo>
                <a:lnTo>
                  <a:pt x="1086" y="750"/>
                </a:lnTo>
                <a:lnTo>
                  <a:pt x="1092" y="750"/>
                </a:lnTo>
                <a:lnTo>
                  <a:pt x="1092" y="756"/>
                </a:lnTo>
                <a:lnTo>
                  <a:pt x="1086" y="756"/>
                </a:lnTo>
                <a:lnTo>
                  <a:pt x="1092" y="762"/>
                </a:lnTo>
                <a:lnTo>
                  <a:pt x="1092" y="768"/>
                </a:lnTo>
                <a:lnTo>
                  <a:pt x="1086" y="774"/>
                </a:lnTo>
                <a:lnTo>
                  <a:pt x="1092" y="774"/>
                </a:lnTo>
                <a:lnTo>
                  <a:pt x="1092" y="780"/>
                </a:lnTo>
                <a:lnTo>
                  <a:pt x="1092" y="786"/>
                </a:lnTo>
                <a:lnTo>
                  <a:pt x="1098" y="786"/>
                </a:lnTo>
                <a:lnTo>
                  <a:pt x="1098" y="792"/>
                </a:lnTo>
                <a:lnTo>
                  <a:pt x="1092" y="792"/>
                </a:lnTo>
                <a:lnTo>
                  <a:pt x="1092" y="786"/>
                </a:lnTo>
                <a:lnTo>
                  <a:pt x="1086" y="786"/>
                </a:lnTo>
                <a:lnTo>
                  <a:pt x="1092" y="786"/>
                </a:lnTo>
                <a:lnTo>
                  <a:pt x="1086" y="792"/>
                </a:lnTo>
                <a:lnTo>
                  <a:pt x="1080" y="792"/>
                </a:lnTo>
                <a:lnTo>
                  <a:pt x="1080" y="798"/>
                </a:lnTo>
                <a:lnTo>
                  <a:pt x="1080" y="804"/>
                </a:lnTo>
                <a:lnTo>
                  <a:pt x="1080" y="810"/>
                </a:lnTo>
                <a:lnTo>
                  <a:pt x="1074" y="810"/>
                </a:lnTo>
                <a:lnTo>
                  <a:pt x="1068" y="810"/>
                </a:lnTo>
                <a:lnTo>
                  <a:pt x="1068" y="816"/>
                </a:lnTo>
                <a:lnTo>
                  <a:pt x="1068" y="822"/>
                </a:lnTo>
                <a:lnTo>
                  <a:pt x="1062" y="822"/>
                </a:lnTo>
                <a:lnTo>
                  <a:pt x="1062" y="828"/>
                </a:lnTo>
                <a:lnTo>
                  <a:pt x="1068" y="828"/>
                </a:lnTo>
                <a:lnTo>
                  <a:pt x="1074" y="828"/>
                </a:lnTo>
                <a:lnTo>
                  <a:pt x="1080" y="828"/>
                </a:lnTo>
                <a:lnTo>
                  <a:pt x="1086" y="834"/>
                </a:lnTo>
                <a:lnTo>
                  <a:pt x="1092" y="834"/>
                </a:lnTo>
                <a:lnTo>
                  <a:pt x="1092" y="840"/>
                </a:lnTo>
                <a:lnTo>
                  <a:pt x="1092" y="846"/>
                </a:lnTo>
                <a:lnTo>
                  <a:pt x="1086" y="846"/>
                </a:lnTo>
                <a:lnTo>
                  <a:pt x="1080" y="852"/>
                </a:lnTo>
                <a:lnTo>
                  <a:pt x="1080" y="858"/>
                </a:lnTo>
                <a:lnTo>
                  <a:pt x="1080" y="864"/>
                </a:lnTo>
                <a:lnTo>
                  <a:pt x="1080" y="870"/>
                </a:lnTo>
                <a:lnTo>
                  <a:pt x="1074" y="870"/>
                </a:lnTo>
                <a:lnTo>
                  <a:pt x="1068" y="870"/>
                </a:lnTo>
                <a:lnTo>
                  <a:pt x="1062" y="870"/>
                </a:lnTo>
                <a:lnTo>
                  <a:pt x="1056" y="870"/>
                </a:lnTo>
                <a:lnTo>
                  <a:pt x="1062" y="882"/>
                </a:lnTo>
                <a:lnTo>
                  <a:pt x="1062" y="888"/>
                </a:lnTo>
                <a:lnTo>
                  <a:pt x="1068" y="888"/>
                </a:lnTo>
                <a:lnTo>
                  <a:pt x="1068" y="894"/>
                </a:lnTo>
                <a:lnTo>
                  <a:pt x="1068" y="900"/>
                </a:lnTo>
                <a:lnTo>
                  <a:pt x="1062" y="906"/>
                </a:lnTo>
                <a:lnTo>
                  <a:pt x="1062" y="900"/>
                </a:lnTo>
                <a:lnTo>
                  <a:pt x="1056" y="900"/>
                </a:lnTo>
                <a:lnTo>
                  <a:pt x="1056" y="894"/>
                </a:lnTo>
                <a:lnTo>
                  <a:pt x="1056" y="900"/>
                </a:lnTo>
                <a:lnTo>
                  <a:pt x="1050" y="900"/>
                </a:lnTo>
                <a:lnTo>
                  <a:pt x="1056" y="900"/>
                </a:lnTo>
                <a:lnTo>
                  <a:pt x="1056" y="906"/>
                </a:lnTo>
                <a:lnTo>
                  <a:pt x="1062" y="906"/>
                </a:lnTo>
                <a:lnTo>
                  <a:pt x="1068" y="906"/>
                </a:lnTo>
                <a:lnTo>
                  <a:pt x="1074" y="906"/>
                </a:lnTo>
                <a:lnTo>
                  <a:pt x="1080" y="906"/>
                </a:lnTo>
                <a:lnTo>
                  <a:pt x="1086" y="906"/>
                </a:lnTo>
                <a:lnTo>
                  <a:pt x="1086" y="912"/>
                </a:lnTo>
                <a:lnTo>
                  <a:pt x="1092" y="912"/>
                </a:lnTo>
                <a:lnTo>
                  <a:pt x="1086" y="912"/>
                </a:lnTo>
                <a:lnTo>
                  <a:pt x="1080" y="912"/>
                </a:lnTo>
                <a:lnTo>
                  <a:pt x="1074" y="918"/>
                </a:lnTo>
                <a:lnTo>
                  <a:pt x="1080" y="924"/>
                </a:lnTo>
                <a:lnTo>
                  <a:pt x="1074" y="924"/>
                </a:lnTo>
                <a:lnTo>
                  <a:pt x="1074" y="930"/>
                </a:lnTo>
                <a:lnTo>
                  <a:pt x="1074" y="936"/>
                </a:lnTo>
                <a:lnTo>
                  <a:pt x="1074" y="942"/>
                </a:lnTo>
                <a:lnTo>
                  <a:pt x="1080" y="942"/>
                </a:lnTo>
                <a:lnTo>
                  <a:pt x="1074" y="942"/>
                </a:lnTo>
                <a:lnTo>
                  <a:pt x="1068" y="942"/>
                </a:lnTo>
                <a:lnTo>
                  <a:pt x="1068" y="948"/>
                </a:lnTo>
                <a:lnTo>
                  <a:pt x="1062" y="948"/>
                </a:lnTo>
                <a:lnTo>
                  <a:pt x="1062" y="954"/>
                </a:lnTo>
                <a:lnTo>
                  <a:pt x="1062" y="960"/>
                </a:lnTo>
                <a:lnTo>
                  <a:pt x="1062" y="966"/>
                </a:lnTo>
                <a:lnTo>
                  <a:pt x="1062" y="972"/>
                </a:lnTo>
                <a:lnTo>
                  <a:pt x="1056" y="972"/>
                </a:lnTo>
                <a:lnTo>
                  <a:pt x="1050" y="972"/>
                </a:lnTo>
                <a:lnTo>
                  <a:pt x="1044" y="972"/>
                </a:lnTo>
                <a:lnTo>
                  <a:pt x="1038" y="972"/>
                </a:lnTo>
                <a:lnTo>
                  <a:pt x="1032" y="978"/>
                </a:lnTo>
                <a:lnTo>
                  <a:pt x="1038" y="984"/>
                </a:lnTo>
                <a:lnTo>
                  <a:pt x="1044" y="984"/>
                </a:lnTo>
                <a:lnTo>
                  <a:pt x="1050" y="984"/>
                </a:lnTo>
                <a:lnTo>
                  <a:pt x="1050" y="990"/>
                </a:lnTo>
                <a:lnTo>
                  <a:pt x="1050" y="996"/>
                </a:lnTo>
                <a:lnTo>
                  <a:pt x="1050" y="1002"/>
                </a:lnTo>
                <a:lnTo>
                  <a:pt x="1044" y="1002"/>
                </a:lnTo>
                <a:lnTo>
                  <a:pt x="1044" y="1008"/>
                </a:lnTo>
                <a:lnTo>
                  <a:pt x="1050" y="1008"/>
                </a:lnTo>
                <a:lnTo>
                  <a:pt x="1050" y="1014"/>
                </a:lnTo>
                <a:lnTo>
                  <a:pt x="1044" y="1014"/>
                </a:lnTo>
                <a:lnTo>
                  <a:pt x="1044" y="1020"/>
                </a:lnTo>
                <a:lnTo>
                  <a:pt x="1038" y="1020"/>
                </a:lnTo>
                <a:lnTo>
                  <a:pt x="1038" y="1026"/>
                </a:lnTo>
                <a:lnTo>
                  <a:pt x="1032" y="1032"/>
                </a:lnTo>
                <a:lnTo>
                  <a:pt x="1026" y="1038"/>
                </a:lnTo>
                <a:lnTo>
                  <a:pt x="1032" y="1038"/>
                </a:lnTo>
                <a:lnTo>
                  <a:pt x="1026" y="1038"/>
                </a:lnTo>
                <a:lnTo>
                  <a:pt x="1026" y="1044"/>
                </a:lnTo>
                <a:lnTo>
                  <a:pt x="1026" y="1038"/>
                </a:lnTo>
                <a:lnTo>
                  <a:pt x="1020" y="1038"/>
                </a:lnTo>
                <a:lnTo>
                  <a:pt x="1014" y="1038"/>
                </a:lnTo>
                <a:lnTo>
                  <a:pt x="1014" y="1044"/>
                </a:lnTo>
                <a:lnTo>
                  <a:pt x="1020" y="1044"/>
                </a:lnTo>
                <a:lnTo>
                  <a:pt x="1020" y="1050"/>
                </a:lnTo>
                <a:lnTo>
                  <a:pt x="1026" y="1056"/>
                </a:lnTo>
                <a:lnTo>
                  <a:pt x="1020" y="1056"/>
                </a:lnTo>
                <a:lnTo>
                  <a:pt x="1014" y="1056"/>
                </a:lnTo>
                <a:lnTo>
                  <a:pt x="1014" y="1050"/>
                </a:lnTo>
                <a:lnTo>
                  <a:pt x="1014" y="1044"/>
                </a:lnTo>
                <a:lnTo>
                  <a:pt x="1008" y="1050"/>
                </a:lnTo>
                <a:lnTo>
                  <a:pt x="1008" y="1056"/>
                </a:lnTo>
                <a:lnTo>
                  <a:pt x="1002" y="1056"/>
                </a:lnTo>
                <a:lnTo>
                  <a:pt x="996" y="1062"/>
                </a:lnTo>
                <a:lnTo>
                  <a:pt x="990" y="1062"/>
                </a:lnTo>
                <a:lnTo>
                  <a:pt x="984" y="1062"/>
                </a:lnTo>
                <a:lnTo>
                  <a:pt x="978" y="1062"/>
                </a:lnTo>
                <a:lnTo>
                  <a:pt x="972" y="1062"/>
                </a:lnTo>
                <a:lnTo>
                  <a:pt x="966" y="1062"/>
                </a:lnTo>
                <a:lnTo>
                  <a:pt x="960" y="1062"/>
                </a:lnTo>
                <a:lnTo>
                  <a:pt x="960" y="1068"/>
                </a:lnTo>
                <a:lnTo>
                  <a:pt x="954" y="1068"/>
                </a:lnTo>
                <a:lnTo>
                  <a:pt x="948" y="1068"/>
                </a:lnTo>
                <a:lnTo>
                  <a:pt x="948" y="1074"/>
                </a:lnTo>
                <a:lnTo>
                  <a:pt x="942" y="1074"/>
                </a:lnTo>
                <a:lnTo>
                  <a:pt x="936" y="1074"/>
                </a:lnTo>
                <a:lnTo>
                  <a:pt x="936" y="1068"/>
                </a:lnTo>
                <a:lnTo>
                  <a:pt x="930" y="1068"/>
                </a:lnTo>
                <a:lnTo>
                  <a:pt x="924" y="1068"/>
                </a:lnTo>
                <a:lnTo>
                  <a:pt x="924" y="1062"/>
                </a:lnTo>
                <a:lnTo>
                  <a:pt x="924" y="1056"/>
                </a:lnTo>
                <a:lnTo>
                  <a:pt x="918" y="1056"/>
                </a:lnTo>
                <a:lnTo>
                  <a:pt x="912" y="1056"/>
                </a:lnTo>
                <a:lnTo>
                  <a:pt x="906" y="1056"/>
                </a:lnTo>
                <a:lnTo>
                  <a:pt x="906" y="1050"/>
                </a:lnTo>
                <a:lnTo>
                  <a:pt x="912" y="1050"/>
                </a:lnTo>
                <a:lnTo>
                  <a:pt x="906" y="1050"/>
                </a:lnTo>
                <a:lnTo>
                  <a:pt x="912" y="1044"/>
                </a:lnTo>
                <a:lnTo>
                  <a:pt x="906" y="1044"/>
                </a:lnTo>
                <a:lnTo>
                  <a:pt x="906" y="1038"/>
                </a:lnTo>
                <a:lnTo>
                  <a:pt x="900" y="1038"/>
                </a:lnTo>
                <a:lnTo>
                  <a:pt x="894" y="1038"/>
                </a:lnTo>
                <a:lnTo>
                  <a:pt x="894" y="1032"/>
                </a:lnTo>
                <a:lnTo>
                  <a:pt x="888" y="1032"/>
                </a:lnTo>
                <a:lnTo>
                  <a:pt x="888" y="1026"/>
                </a:lnTo>
                <a:lnTo>
                  <a:pt x="882" y="1026"/>
                </a:lnTo>
                <a:lnTo>
                  <a:pt x="882" y="1032"/>
                </a:lnTo>
                <a:lnTo>
                  <a:pt x="882" y="1038"/>
                </a:lnTo>
                <a:lnTo>
                  <a:pt x="888" y="1044"/>
                </a:lnTo>
                <a:lnTo>
                  <a:pt x="882" y="1044"/>
                </a:lnTo>
                <a:lnTo>
                  <a:pt x="876" y="1044"/>
                </a:lnTo>
                <a:lnTo>
                  <a:pt x="882" y="1050"/>
                </a:lnTo>
                <a:lnTo>
                  <a:pt x="882" y="1056"/>
                </a:lnTo>
                <a:lnTo>
                  <a:pt x="876" y="1056"/>
                </a:lnTo>
                <a:lnTo>
                  <a:pt x="870" y="1056"/>
                </a:lnTo>
                <a:lnTo>
                  <a:pt x="870" y="1062"/>
                </a:lnTo>
                <a:lnTo>
                  <a:pt x="864" y="1056"/>
                </a:lnTo>
                <a:lnTo>
                  <a:pt x="864" y="1062"/>
                </a:lnTo>
                <a:lnTo>
                  <a:pt x="858" y="1062"/>
                </a:lnTo>
                <a:lnTo>
                  <a:pt x="858" y="1068"/>
                </a:lnTo>
                <a:lnTo>
                  <a:pt x="852" y="1068"/>
                </a:lnTo>
                <a:lnTo>
                  <a:pt x="858" y="1068"/>
                </a:lnTo>
                <a:lnTo>
                  <a:pt x="852" y="1068"/>
                </a:lnTo>
                <a:lnTo>
                  <a:pt x="852" y="1074"/>
                </a:lnTo>
                <a:lnTo>
                  <a:pt x="846" y="1074"/>
                </a:lnTo>
                <a:lnTo>
                  <a:pt x="840" y="1074"/>
                </a:lnTo>
                <a:lnTo>
                  <a:pt x="834" y="1074"/>
                </a:lnTo>
                <a:lnTo>
                  <a:pt x="834" y="1068"/>
                </a:lnTo>
                <a:lnTo>
                  <a:pt x="828" y="1068"/>
                </a:lnTo>
                <a:lnTo>
                  <a:pt x="828" y="1074"/>
                </a:lnTo>
                <a:lnTo>
                  <a:pt x="822" y="1074"/>
                </a:lnTo>
                <a:lnTo>
                  <a:pt x="822" y="1080"/>
                </a:lnTo>
                <a:lnTo>
                  <a:pt x="816" y="1080"/>
                </a:lnTo>
                <a:lnTo>
                  <a:pt x="816" y="1086"/>
                </a:lnTo>
                <a:lnTo>
                  <a:pt x="810" y="1086"/>
                </a:lnTo>
                <a:lnTo>
                  <a:pt x="804" y="1086"/>
                </a:lnTo>
                <a:lnTo>
                  <a:pt x="804" y="1092"/>
                </a:lnTo>
                <a:lnTo>
                  <a:pt x="804" y="1086"/>
                </a:lnTo>
                <a:lnTo>
                  <a:pt x="804" y="1080"/>
                </a:lnTo>
                <a:lnTo>
                  <a:pt x="804" y="1074"/>
                </a:lnTo>
                <a:lnTo>
                  <a:pt x="804" y="1068"/>
                </a:lnTo>
                <a:lnTo>
                  <a:pt x="798" y="1068"/>
                </a:lnTo>
                <a:lnTo>
                  <a:pt x="798" y="1062"/>
                </a:lnTo>
                <a:lnTo>
                  <a:pt x="792" y="1062"/>
                </a:lnTo>
                <a:lnTo>
                  <a:pt x="792" y="1056"/>
                </a:lnTo>
                <a:lnTo>
                  <a:pt x="786" y="1056"/>
                </a:lnTo>
                <a:lnTo>
                  <a:pt x="786" y="1050"/>
                </a:lnTo>
                <a:lnTo>
                  <a:pt x="786" y="1044"/>
                </a:lnTo>
                <a:lnTo>
                  <a:pt x="780" y="1044"/>
                </a:lnTo>
                <a:lnTo>
                  <a:pt x="780" y="1038"/>
                </a:lnTo>
                <a:lnTo>
                  <a:pt x="774" y="1038"/>
                </a:lnTo>
                <a:lnTo>
                  <a:pt x="768" y="1038"/>
                </a:lnTo>
                <a:lnTo>
                  <a:pt x="762" y="1038"/>
                </a:lnTo>
                <a:lnTo>
                  <a:pt x="762" y="1044"/>
                </a:lnTo>
                <a:lnTo>
                  <a:pt x="762" y="1038"/>
                </a:lnTo>
                <a:lnTo>
                  <a:pt x="762" y="1032"/>
                </a:lnTo>
                <a:lnTo>
                  <a:pt x="762" y="1026"/>
                </a:lnTo>
                <a:lnTo>
                  <a:pt x="762" y="1020"/>
                </a:lnTo>
                <a:lnTo>
                  <a:pt x="756" y="1020"/>
                </a:lnTo>
                <a:lnTo>
                  <a:pt x="756" y="1026"/>
                </a:lnTo>
                <a:lnTo>
                  <a:pt x="756" y="1020"/>
                </a:lnTo>
                <a:lnTo>
                  <a:pt x="750" y="1020"/>
                </a:lnTo>
                <a:lnTo>
                  <a:pt x="750" y="1026"/>
                </a:lnTo>
                <a:lnTo>
                  <a:pt x="744" y="1026"/>
                </a:lnTo>
                <a:lnTo>
                  <a:pt x="744" y="1020"/>
                </a:lnTo>
                <a:lnTo>
                  <a:pt x="744" y="1014"/>
                </a:lnTo>
                <a:lnTo>
                  <a:pt x="744" y="1008"/>
                </a:lnTo>
                <a:lnTo>
                  <a:pt x="738" y="1002"/>
                </a:lnTo>
                <a:lnTo>
                  <a:pt x="732" y="1002"/>
                </a:lnTo>
                <a:lnTo>
                  <a:pt x="726" y="1002"/>
                </a:lnTo>
                <a:lnTo>
                  <a:pt x="720" y="1002"/>
                </a:lnTo>
                <a:lnTo>
                  <a:pt x="720" y="996"/>
                </a:lnTo>
                <a:lnTo>
                  <a:pt x="714" y="996"/>
                </a:lnTo>
                <a:lnTo>
                  <a:pt x="708" y="996"/>
                </a:lnTo>
                <a:lnTo>
                  <a:pt x="702" y="996"/>
                </a:lnTo>
                <a:lnTo>
                  <a:pt x="702" y="1002"/>
                </a:lnTo>
                <a:lnTo>
                  <a:pt x="696" y="1002"/>
                </a:lnTo>
                <a:lnTo>
                  <a:pt x="696" y="996"/>
                </a:lnTo>
                <a:lnTo>
                  <a:pt x="696" y="990"/>
                </a:lnTo>
                <a:lnTo>
                  <a:pt x="696" y="984"/>
                </a:lnTo>
                <a:lnTo>
                  <a:pt x="690" y="984"/>
                </a:lnTo>
                <a:lnTo>
                  <a:pt x="684" y="984"/>
                </a:lnTo>
                <a:lnTo>
                  <a:pt x="684" y="990"/>
                </a:lnTo>
                <a:lnTo>
                  <a:pt x="684" y="984"/>
                </a:lnTo>
                <a:lnTo>
                  <a:pt x="684" y="978"/>
                </a:lnTo>
                <a:lnTo>
                  <a:pt x="678" y="978"/>
                </a:lnTo>
                <a:lnTo>
                  <a:pt x="678" y="972"/>
                </a:lnTo>
                <a:lnTo>
                  <a:pt x="678" y="978"/>
                </a:lnTo>
                <a:lnTo>
                  <a:pt x="678" y="972"/>
                </a:lnTo>
                <a:lnTo>
                  <a:pt x="672" y="972"/>
                </a:lnTo>
                <a:lnTo>
                  <a:pt x="666" y="972"/>
                </a:lnTo>
                <a:lnTo>
                  <a:pt x="660" y="972"/>
                </a:lnTo>
                <a:lnTo>
                  <a:pt x="654" y="972"/>
                </a:lnTo>
                <a:lnTo>
                  <a:pt x="660" y="978"/>
                </a:lnTo>
                <a:lnTo>
                  <a:pt x="654" y="978"/>
                </a:lnTo>
                <a:lnTo>
                  <a:pt x="654" y="984"/>
                </a:lnTo>
                <a:lnTo>
                  <a:pt x="648" y="984"/>
                </a:lnTo>
                <a:lnTo>
                  <a:pt x="648" y="990"/>
                </a:lnTo>
                <a:lnTo>
                  <a:pt x="648" y="996"/>
                </a:lnTo>
                <a:lnTo>
                  <a:pt x="642" y="996"/>
                </a:lnTo>
                <a:lnTo>
                  <a:pt x="636" y="996"/>
                </a:lnTo>
                <a:lnTo>
                  <a:pt x="636" y="990"/>
                </a:lnTo>
                <a:lnTo>
                  <a:pt x="636" y="996"/>
                </a:lnTo>
                <a:lnTo>
                  <a:pt x="630" y="996"/>
                </a:lnTo>
                <a:lnTo>
                  <a:pt x="630" y="1002"/>
                </a:lnTo>
                <a:lnTo>
                  <a:pt x="624" y="1002"/>
                </a:lnTo>
                <a:lnTo>
                  <a:pt x="618" y="1002"/>
                </a:lnTo>
                <a:lnTo>
                  <a:pt x="612" y="1002"/>
                </a:lnTo>
                <a:lnTo>
                  <a:pt x="612" y="996"/>
                </a:lnTo>
                <a:lnTo>
                  <a:pt x="612" y="990"/>
                </a:lnTo>
                <a:lnTo>
                  <a:pt x="606" y="984"/>
                </a:lnTo>
                <a:lnTo>
                  <a:pt x="606" y="978"/>
                </a:lnTo>
                <a:lnTo>
                  <a:pt x="606" y="972"/>
                </a:lnTo>
                <a:lnTo>
                  <a:pt x="606" y="966"/>
                </a:lnTo>
                <a:lnTo>
                  <a:pt x="606" y="960"/>
                </a:lnTo>
                <a:lnTo>
                  <a:pt x="606" y="954"/>
                </a:lnTo>
                <a:lnTo>
                  <a:pt x="600" y="954"/>
                </a:lnTo>
                <a:lnTo>
                  <a:pt x="594" y="948"/>
                </a:lnTo>
                <a:lnTo>
                  <a:pt x="588" y="948"/>
                </a:lnTo>
                <a:lnTo>
                  <a:pt x="588" y="954"/>
                </a:lnTo>
                <a:lnTo>
                  <a:pt x="582" y="954"/>
                </a:lnTo>
                <a:lnTo>
                  <a:pt x="588" y="954"/>
                </a:lnTo>
                <a:lnTo>
                  <a:pt x="588" y="960"/>
                </a:lnTo>
                <a:lnTo>
                  <a:pt x="588" y="966"/>
                </a:lnTo>
                <a:lnTo>
                  <a:pt x="582" y="972"/>
                </a:lnTo>
                <a:lnTo>
                  <a:pt x="576" y="978"/>
                </a:lnTo>
                <a:lnTo>
                  <a:pt x="576" y="984"/>
                </a:lnTo>
                <a:lnTo>
                  <a:pt x="570" y="984"/>
                </a:lnTo>
                <a:lnTo>
                  <a:pt x="570" y="990"/>
                </a:lnTo>
                <a:lnTo>
                  <a:pt x="564" y="990"/>
                </a:lnTo>
                <a:lnTo>
                  <a:pt x="558" y="996"/>
                </a:lnTo>
                <a:lnTo>
                  <a:pt x="558" y="1002"/>
                </a:lnTo>
                <a:lnTo>
                  <a:pt x="552" y="1002"/>
                </a:lnTo>
                <a:lnTo>
                  <a:pt x="546" y="1002"/>
                </a:lnTo>
                <a:lnTo>
                  <a:pt x="546" y="996"/>
                </a:lnTo>
                <a:lnTo>
                  <a:pt x="546" y="1002"/>
                </a:lnTo>
                <a:lnTo>
                  <a:pt x="540" y="1002"/>
                </a:lnTo>
                <a:lnTo>
                  <a:pt x="534" y="1002"/>
                </a:lnTo>
                <a:lnTo>
                  <a:pt x="528" y="1002"/>
                </a:lnTo>
                <a:lnTo>
                  <a:pt x="522" y="1002"/>
                </a:lnTo>
                <a:lnTo>
                  <a:pt x="522" y="996"/>
                </a:lnTo>
                <a:lnTo>
                  <a:pt x="522" y="990"/>
                </a:lnTo>
                <a:lnTo>
                  <a:pt x="516" y="990"/>
                </a:lnTo>
                <a:lnTo>
                  <a:pt x="510" y="990"/>
                </a:lnTo>
                <a:lnTo>
                  <a:pt x="504" y="984"/>
                </a:lnTo>
                <a:lnTo>
                  <a:pt x="498" y="984"/>
                </a:lnTo>
                <a:lnTo>
                  <a:pt x="498" y="990"/>
                </a:lnTo>
                <a:lnTo>
                  <a:pt x="492" y="990"/>
                </a:lnTo>
                <a:lnTo>
                  <a:pt x="486" y="990"/>
                </a:lnTo>
                <a:lnTo>
                  <a:pt x="480" y="990"/>
                </a:lnTo>
                <a:lnTo>
                  <a:pt x="480" y="984"/>
                </a:lnTo>
                <a:lnTo>
                  <a:pt x="480" y="978"/>
                </a:lnTo>
                <a:lnTo>
                  <a:pt x="474" y="978"/>
                </a:lnTo>
                <a:lnTo>
                  <a:pt x="474" y="984"/>
                </a:lnTo>
                <a:lnTo>
                  <a:pt x="468" y="984"/>
                </a:lnTo>
                <a:lnTo>
                  <a:pt x="468" y="978"/>
                </a:lnTo>
                <a:lnTo>
                  <a:pt x="462" y="978"/>
                </a:lnTo>
                <a:lnTo>
                  <a:pt x="468" y="972"/>
                </a:lnTo>
                <a:lnTo>
                  <a:pt x="468" y="966"/>
                </a:lnTo>
                <a:lnTo>
                  <a:pt x="468" y="960"/>
                </a:lnTo>
                <a:lnTo>
                  <a:pt x="462" y="954"/>
                </a:lnTo>
                <a:lnTo>
                  <a:pt x="456" y="954"/>
                </a:lnTo>
                <a:lnTo>
                  <a:pt x="450" y="954"/>
                </a:lnTo>
                <a:lnTo>
                  <a:pt x="450" y="960"/>
                </a:lnTo>
                <a:lnTo>
                  <a:pt x="444" y="960"/>
                </a:lnTo>
                <a:lnTo>
                  <a:pt x="438" y="960"/>
                </a:lnTo>
                <a:lnTo>
                  <a:pt x="432" y="960"/>
                </a:lnTo>
                <a:lnTo>
                  <a:pt x="432" y="954"/>
                </a:lnTo>
                <a:lnTo>
                  <a:pt x="432" y="960"/>
                </a:lnTo>
                <a:lnTo>
                  <a:pt x="426" y="960"/>
                </a:lnTo>
                <a:lnTo>
                  <a:pt x="420" y="960"/>
                </a:lnTo>
                <a:lnTo>
                  <a:pt x="420" y="966"/>
                </a:lnTo>
                <a:lnTo>
                  <a:pt x="414" y="966"/>
                </a:lnTo>
                <a:lnTo>
                  <a:pt x="420" y="966"/>
                </a:lnTo>
                <a:lnTo>
                  <a:pt x="420" y="960"/>
                </a:lnTo>
                <a:lnTo>
                  <a:pt x="414" y="960"/>
                </a:lnTo>
                <a:lnTo>
                  <a:pt x="420" y="954"/>
                </a:lnTo>
                <a:lnTo>
                  <a:pt x="420" y="948"/>
                </a:lnTo>
                <a:lnTo>
                  <a:pt x="420" y="942"/>
                </a:lnTo>
                <a:lnTo>
                  <a:pt x="420" y="948"/>
                </a:lnTo>
                <a:lnTo>
                  <a:pt x="414" y="948"/>
                </a:lnTo>
                <a:lnTo>
                  <a:pt x="408" y="948"/>
                </a:lnTo>
                <a:lnTo>
                  <a:pt x="414" y="948"/>
                </a:lnTo>
                <a:lnTo>
                  <a:pt x="414" y="942"/>
                </a:lnTo>
                <a:lnTo>
                  <a:pt x="408" y="942"/>
                </a:lnTo>
                <a:lnTo>
                  <a:pt x="408" y="948"/>
                </a:lnTo>
                <a:lnTo>
                  <a:pt x="402" y="948"/>
                </a:lnTo>
                <a:lnTo>
                  <a:pt x="402" y="942"/>
                </a:lnTo>
                <a:lnTo>
                  <a:pt x="396" y="942"/>
                </a:lnTo>
                <a:lnTo>
                  <a:pt x="396" y="936"/>
                </a:lnTo>
                <a:lnTo>
                  <a:pt x="390" y="936"/>
                </a:lnTo>
                <a:lnTo>
                  <a:pt x="390" y="942"/>
                </a:lnTo>
                <a:lnTo>
                  <a:pt x="396" y="948"/>
                </a:lnTo>
                <a:lnTo>
                  <a:pt x="390" y="948"/>
                </a:lnTo>
                <a:lnTo>
                  <a:pt x="384" y="948"/>
                </a:lnTo>
                <a:lnTo>
                  <a:pt x="384" y="942"/>
                </a:lnTo>
                <a:lnTo>
                  <a:pt x="378" y="942"/>
                </a:lnTo>
                <a:lnTo>
                  <a:pt x="378" y="936"/>
                </a:lnTo>
                <a:lnTo>
                  <a:pt x="378" y="930"/>
                </a:lnTo>
                <a:lnTo>
                  <a:pt x="384" y="930"/>
                </a:lnTo>
                <a:lnTo>
                  <a:pt x="378" y="930"/>
                </a:lnTo>
                <a:lnTo>
                  <a:pt x="378" y="924"/>
                </a:lnTo>
                <a:lnTo>
                  <a:pt x="378" y="918"/>
                </a:lnTo>
                <a:lnTo>
                  <a:pt x="384" y="918"/>
                </a:lnTo>
                <a:lnTo>
                  <a:pt x="378" y="918"/>
                </a:lnTo>
                <a:lnTo>
                  <a:pt x="372" y="918"/>
                </a:lnTo>
                <a:lnTo>
                  <a:pt x="366" y="912"/>
                </a:lnTo>
                <a:lnTo>
                  <a:pt x="366" y="906"/>
                </a:lnTo>
                <a:lnTo>
                  <a:pt x="360" y="906"/>
                </a:lnTo>
                <a:lnTo>
                  <a:pt x="354" y="906"/>
                </a:lnTo>
                <a:lnTo>
                  <a:pt x="348" y="906"/>
                </a:lnTo>
                <a:lnTo>
                  <a:pt x="342" y="906"/>
                </a:lnTo>
                <a:lnTo>
                  <a:pt x="336" y="906"/>
                </a:lnTo>
                <a:lnTo>
                  <a:pt x="336" y="900"/>
                </a:lnTo>
                <a:lnTo>
                  <a:pt x="330" y="900"/>
                </a:lnTo>
                <a:lnTo>
                  <a:pt x="324" y="900"/>
                </a:lnTo>
                <a:lnTo>
                  <a:pt x="318" y="894"/>
                </a:lnTo>
                <a:lnTo>
                  <a:pt x="312" y="894"/>
                </a:lnTo>
                <a:lnTo>
                  <a:pt x="312" y="900"/>
                </a:lnTo>
                <a:lnTo>
                  <a:pt x="312" y="906"/>
                </a:lnTo>
                <a:lnTo>
                  <a:pt x="306" y="906"/>
                </a:lnTo>
                <a:lnTo>
                  <a:pt x="306" y="900"/>
                </a:lnTo>
                <a:lnTo>
                  <a:pt x="306" y="894"/>
                </a:lnTo>
                <a:lnTo>
                  <a:pt x="300" y="894"/>
                </a:lnTo>
                <a:lnTo>
                  <a:pt x="294" y="894"/>
                </a:lnTo>
                <a:lnTo>
                  <a:pt x="294" y="900"/>
                </a:lnTo>
                <a:lnTo>
                  <a:pt x="288" y="906"/>
                </a:lnTo>
                <a:lnTo>
                  <a:pt x="282" y="906"/>
                </a:lnTo>
                <a:lnTo>
                  <a:pt x="288" y="912"/>
                </a:lnTo>
                <a:lnTo>
                  <a:pt x="294" y="906"/>
                </a:lnTo>
                <a:lnTo>
                  <a:pt x="300" y="906"/>
                </a:lnTo>
                <a:lnTo>
                  <a:pt x="300" y="912"/>
                </a:lnTo>
                <a:lnTo>
                  <a:pt x="294" y="918"/>
                </a:lnTo>
                <a:lnTo>
                  <a:pt x="288" y="924"/>
                </a:lnTo>
                <a:lnTo>
                  <a:pt x="288" y="930"/>
                </a:lnTo>
                <a:lnTo>
                  <a:pt x="282" y="930"/>
                </a:lnTo>
                <a:lnTo>
                  <a:pt x="282" y="936"/>
                </a:lnTo>
                <a:lnTo>
                  <a:pt x="282" y="930"/>
                </a:lnTo>
                <a:lnTo>
                  <a:pt x="282" y="924"/>
                </a:lnTo>
                <a:lnTo>
                  <a:pt x="282" y="930"/>
                </a:lnTo>
                <a:lnTo>
                  <a:pt x="276" y="930"/>
                </a:lnTo>
                <a:lnTo>
                  <a:pt x="276" y="936"/>
                </a:lnTo>
                <a:lnTo>
                  <a:pt x="276" y="942"/>
                </a:lnTo>
                <a:lnTo>
                  <a:pt x="270" y="942"/>
                </a:lnTo>
                <a:lnTo>
                  <a:pt x="270" y="936"/>
                </a:lnTo>
                <a:lnTo>
                  <a:pt x="270" y="930"/>
                </a:lnTo>
                <a:lnTo>
                  <a:pt x="270" y="924"/>
                </a:lnTo>
                <a:lnTo>
                  <a:pt x="270" y="918"/>
                </a:lnTo>
                <a:lnTo>
                  <a:pt x="270" y="912"/>
                </a:lnTo>
                <a:lnTo>
                  <a:pt x="270" y="906"/>
                </a:lnTo>
                <a:lnTo>
                  <a:pt x="270" y="900"/>
                </a:lnTo>
                <a:lnTo>
                  <a:pt x="264" y="900"/>
                </a:lnTo>
                <a:lnTo>
                  <a:pt x="264" y="906"/>
                </a:lnTo>
                <a:lnTo>
                  <a:pt x="258" y="906"/>
                </a:lnTo>
                <a:lnTo>
                  <a:pt x="252" y="906"/>
                </a:lnTo>
                <a:lnTo>
                  <a:pt x="246" y="906"/>
                </a:lnTo>
                <a:lnTo>
                  <a:pt x="240" y="900"/>
                </a:lnTo>
                <a:lnTo>
                  <a:pt x="246" y="900"/>
                </a:lnTo>
                <a:lnTo>
                  <a:pt x="246" y="894"/>
                </a:lnTo>
                <a:lnTo>
                  <a:pt x="246" y="888"/>
                </a:lnTo>
                <a:lnTo>
                  <a:pt x="240" y="888"/>
                </a:lnTo>
                <a:lnTo>
                  <a:pt x="240" y="882"/>
                </a:lnTo>
                <a:lnTo>
                  <a:pt x="246" y="876"/>
                </a:lnTo>
                <a:lnTo>
                  <a:pt x="246" y="870"/>
                </a:lnTo>
                <a:lnTo>
                  <a:pt x="240" y="870"/>
                </a:lnTo>
                <a:lnTo>
                  <a:pt x="240" y="864"/>
                </a:lnTo>
                <a:lnTo>
                  <a:pt x="240" y="858"/>
                </a:lnTo>
                <a:lnTo>
                  <a:pt x="234" y="858"/>
                </a:lnTo>
                <a:lnTo>
                  <a:pt x="234" y="864"/>
                </a:lnTo>
                <a:lnTo>
                  <a:pt x="228" y="864"/>
                </a:lnTo>
                <a:lnTo>
                  <a:pt x="222" y="864"/>
                </a:lnTo>
                <a:lnTo>
                  <a:pt x="216" y="864"/>
                </a:lnTo>
                <a:lnTo>
                  <a:pt x="216" y="870"/>
                </a:lnTo>
                <a:lnTo>
                  <a:pt x="210" y="870"/>
                </a:lnTo>
                <a:lnTo>
                  <a:pt x="216" y="870"/>
                </a:lnTo>
                <a:lnTo>
                  <a:pt x="210" y="870"/>
                </a:lnTo>
                <a:lnTo>
                  <a:pt x="210" y="876"/>
                </a:lnTo>
                <a:lnTo>
                  <a:pt x="204" y="876"/>
                </a:lnTo>
                <a:lnTo>
                  <a:pt x="198" y="876"/>
                </a:lnTo>
                <a:lnTo>
                  <a:pt x="192" y="882"/>
                </a:lnTo>
                <a:lnTo>
                  <a:pt x="192" y="888"/>
                </a:lnTo>
                <a:lnTo>
                  <a:pt x="186" y="888"/>
                </a:lnTo>
                <a:lnTo>
                  <a:pt x="192" y="888"/>
                </a:lnTo>
                <a:lnTo>
                  <a:pt x="192" y="894"/>
                </a:lnTo>
                <a:lnTo>
                  <a:pt x="186" y="894"/>
                </a:lnTo>
                <a:lnTo>
                  <a:pt x="186" y="888"/>
                </a:lnTo>
                <a:lnTo>
                  <a:pt x="186" y="894"/>
                </a:lnTo>
                <a:lnTo>
                  <a:pt x="180" y="894"/>
                </a:lnTo>
                <a:lnTo>
                  <a:pt x="180" y="888"/>
                </a:lnTo>
                <a:lnTo>
                  <a:pt x="180" y="882"/>
                </a:lnTo>
                <a:lnTo>
                  <a:pt x="174" y="882"/>
                </a:lnTo>
                <a:lnTo>
                  <a:pt x="168" y="882"/>
                </a:lnTo>
                <a:lnTo>
                  <a:pt x="168" y="888"/>
                </a:lnTo>
                <a:lnTo>
                  <a:pt x="162" y="888"/>
                </a:lnTo>
                <a:lnTo>
                  <a:pt x="162" y="882"/>
                </a:lnTo>
                <a:lnTo>
                  <a:pt x="162" y="876"/>
                </a:lnTo>
                <a:lnTo>
                  <a:pt x="162" y="870"/>
                </a:lnTo>
                <a:lnTo>
                  <a:pt x="168" y="870"/>
                </a:lnTo>
                <a:lnTo>
                  <a:pt x="168" y="864"/>
                </a:lnTo>
                <a:lnTo>
                  <a:pt x="168" y="870"/>
                </a:lnTo>
                <a:lnTo>
                  <a:pt x="174" y="870"/>
                </a:lnTo>
                <a:lnTo>
                  <a:pt x="174" y="864"/>
                </a:lnTo>
                <a:lnTo>
                  <a:pt x="168" y="864"/>
                </a:lnTo>
                <a:lnTo>
                  <a:pt x="162" y="864"/>
                </a:lnTo>
                <a:lnTo>
                  <a:pt x="162" y="858"/>
                </a:lnTo>
                <a:lnTo>
                  <a:pt x="168" y="858"/>
                </a:lnTo>
                <a:lnTo>
                  <a:pt x="168" y="852"/>
                </a:lnTo>
                <a:lnTo>
                  <a:pt x="168" y="846"/>
                </a:lnTo>
                <a:lnTo>
                  <a:pt x="162" y="846"/>
                </a:lnTo>
                <a:lnTo>
                  <a:pt x="156" y="846"/>
                </a:lnTo>
                <a:lnTo>
                  <a:pt x="162" y="846"/>
                </a:lnTo>
                <a:lnTo>
                  <a:pt x="156" y="846"/>
                </a:lnTo>
                <a:lnTo>
                  <a:pt x="156" y="840"/>
                </a:lnTo>
                <a:lnTo>
                  <a:pt x="150" y="840"/>
                </a:lnTo>
                <a:lnTo>
                  <a:pt x="144" y="840"/>
                </a:lnTo>
                <a:lnTo>
                  <a:pt x="144" y="834"/>
                </a:lnTo>
                <a:lnTo>
                  <a:pt x="138" y="834"/>
                </a:lnTo>
                <a:lnTo>
                  <a:pt x="132" y="834"/>
                </a:lnTo>
                <a:lnTo>
                  <a:pt x="126" y="834"/>
                </a:lnTo>
                <a:lnTo>
                  <a:pt x="126" y="828"/>
                </a:lnTo>
                <a:lnTo>
                  <a:pt x="132" y="828"/>
                </a:lnTo>
                <a:lnTo>
                  <a:pt x="132" y="822"/>
                </a:lnTo>
                <a:lnTo>
                  <a:pt x="126" y="822"/>
                </a:lnTo>
                <a:lnTo>
                  <a:pt x="126" y="816"/>
                </a:lnTo>
                <a:lnTo>
                  <a:pt x="132" y="816"/>
                </a:lnTo>
                <a:lnTo>
                  <a:pt x="126" y="816"/>
                </a:lnTo>
                <a:lnTo>
                  <a:pt x="132" y="810"/>
                </a:lnTo>
                <a:lnTo>
                  <a:pt x="138" y="810"/>
                </a:lnTo>
                <a:lnTo>
                  <a:pt x="144" y="804"/>
                </a:lnTo>
                <a:lnTo>
                  <a:pt x="144" y="798"/>
                </a:lnTo>
                <a:lnTo>
                  <a:pt x="150" y="804"/>
                </a:lnTo>
                <a:lnTo>
                  <a:pt x="156" y="804"/>
                </a:lnTo>
                <a:lnTo>
                  <a:pt x="162" y="804"/>
                </a:lnTo>
                <a:lnTo>
                  <a:pt x="168" y="804"/>
                </a:lnTo>
                <a:lnTo>
                  <a:pt x="174" y="804"/>
                </a:lnTo>
                <a:lnTo>
                  <a:pt x="174" y="798"/>
                </a:lnTo>
                <a:lnTo>
                  <a:pt x="174" y="792"/>
                </a:lnTo>
                <a:lnTo>
                  <a:pt x="168" y="792"/>
                </a:lnTo>
                <a:lnTo>
                  <a:pt x="174" y="792"/>
                </a:lnTo>
                <a:lnTo>
                  <a:pt x="174" y="786"/>
                </a:lnTo>
                <a:lnTo>
                  <a:pt x="174" y="780"/>
                </a:lnTo>
                <a:lnTo>
                  <a:pt x="174" y="774"/>
                </a:lnTo>
                <a:lnTo>
                  <a:pt x="174" y="768"/>
                </a:lnTo>
                <a:lnTo>
                  <a:pt x="174" y="762"/>
                </a:lnTo>
                <a:lnTo>
                  <a:pt x="174" y="756"/>
                </a:lnTo>
                <a:lnTo>
                  <a:pt x="168" y="756"/>
                </a:lnTo>
                <a:lnTo>
                  <a:pt x="168" y="750"/>
                </a:lnTo>
                <a:lnTo>
                  <a:pt x="174" y="750"/>
                </a:lnTo>
                <a:lnTo>
                  <a:pt x="174" y="744"/>
                </a:lnTo>
                <a:lnTo>
                  <a:pt x="180" y="744"/>
                </a:lnTo>
                <a:lnTo>
                  <a:pt x="174" y="744"/>
                </a:lnTo>
                <a:lnTo>
                  <a:pt x="174" y="738"/>
                </a:lnTo>
                <a:lnTo>
                  <a:pt x="174" y="732"/>
                </a:lnTo>
                <a:lnTo>
                  <a:pt x="174" y="726"/>
                </a:lnTo>
                <a:lnTo>
                  <a:pt x="168" y="726"/>
                </a:lnTo>
                <a:lnTo>
                  <a:pt x="168" y="720"/>
                </a:lnTo>
                <a:lnTo>
                  <a:pt x="168" y="714"/>
                </a:lnTo>
                <a:lnTo>
                  <a:pt x="168" y="708"/>
                </a:lnTo>
                <a:lnTo>
                  <a:pt x="162" y="702"/>
                </a:lnTo>
                <a:lnTo>
                  <a:pt x="162" y="696"/>
                </a:lnTo>
                <a:lnTo>
                  <a:pt x="168" y="696"/>
                </a:lnTo>
                <a:lnTo>
                  <a:pt x="168" y="690"/>
                </a:lnTo>
                <a:lnTo>
                  <a:pt x="162" y="690"/>
                </a:lnTo>
                <a:lnTo>
                  <a:pt x="156" y="690"/>
                </a:lnTo>
                <a:lnTo>
                  <a:pt x="156" y="684"/>
                </a:lnTo>
                <a:lnTo>
                  <a:pt x="150" y="684"/>
                </a:lnTo>
                <a:lnTo>
                  <a:pt x="150" y="678"/>
                </a:lnTo>
                <a:lnTo>
                  <a:pt x="144" y="678"/>
                </a:lnTo>
                <a:lnTo>
                  <a:pt x="138" y="678"/>
                </a:lnTo>
                <a:lnTo>
                  <a:pt x="132" y="678"/>
                </a:lnTo>
                <a:lnTo>
                  <a:pt x="126" y="672"/>
                </a:lnTo>
                <a:lnTo>
                  <a:pt x="120" y="672"/>
                </a:lnTo>
                <a:lnTo>
                  <a:pt x="120" y="666"/>
                </a:lnTo>
                <a:lnTo>
                  <a:pt x="114" y="666"/>
                </a:lnTo>
                <a:lnTo>
                  <a:pt x="108" y="666"/>
                </a:lnTo>
                <a:lnTo>
                  <a:pt x="108" y="660"/>
                </a:lnTo>
                <a:lnTo>
                  <a:pt x="102" y="660"/>
                </a:lnTo>
                <a:lnTo>
                  <a:pt x="96" y="660"/>
                </a:lnTo>
                <a:lnTo>
                  <a:pt x="96" y="666"/>
                </a:lnTo>
                <a:lnTo>
                  <a:pt x="90" y="666"/>
                </a:lnTo>
                <a:lnTo>
                  <a:pt x="84" y="666"/>
                </a:lnTo>
                <a:lnTo>
                  <a:pt x="78" y="666"/>
                </a:lnTo>
                <a:lnTo>
                  <a:pt x="72" y="666"/>
                </a:lnTo>
                <a:lnTo>
                  <a:pt x="66" y="666"/>
                </a:lnTo>
                <a:lnTo>
                  <a:pt x="66" y="660"/>
                </a:lnTo>
                <a:lnTo>
                  <a:pt x="66" y="654"/>
                </a:lnTo>
                <a:lnTo>
                  <a:pt x="60" y="654"/>
                </a:lnTo>
                <a:lnTo>
                  <a:pt x="60" y="648"/>
                </a:lnTo>
                <a:lnTo>
                  <a:pt x="60" y="642"/>
                </a:lnTo>
                <a:lnTo>
                  <a:pt x="60" y="636"/>
                </a:lnTo>
                <a:lnTo>
                  <a:pt x="66" y="630"/>
                </a:lnTo>
                <a:lnTo>
                  <a:pt x="72" y="630"/>
                </a:lnTo>
                <a:lnTo>
                  <a:pt x="72" y="624"/>
                </a:lnTo>
                <a:lnTo>
                  <a:pt x="72" y="618"/>
                </a:lnTo>
                <a:lnTo>
                  <a:pt x="72" y="612"/>
                </a:lnTo>
                <a:lnTo>
                  <a:pt x="72" y="606"/>
                </a:lnTo>
                <a:lnTo>
                  <a:pt x="66" y="606"/>
                </a:lnTo>
                <a:lnTo>
                  <a:pt x="66" y="600"/>
                </a:lnTo>
                <a:lnTo>
                  <a:pt x="66" y="594"/>
                </a:lnTo>
                <a:lnTo>
                  <a:pt x="66" y="588"/>
                </a:lnTo>
                <a:lnTo>
                  <a:pt x="60" y="582"/>
                </a:lnTo>
                <a:lnTo>
                  <a:pt x="66" y="588"/>
                </a:lnTo>
                <a:lnTo>
                  <a:pt x="66" y="582"/>
                </a:lnTo>
                <a:lnTo>
                  <a:pt x="72" y="582"/>
                </a:lnTo>
                <a:lnTo>
                  <a:pt x="78" y="582"/>
                </a:lnTo>
                <a:lnTo>
                  <a:pt x="78" y="576"/>
                </a:lnTo>
                <a:lnTo>
                  <a:pt x="78" y="570"/>
                </a:lnTo>
                <a:lnTo>
                  <a:pt x="78" y="564"/>
                </a:lnTo>
                <a:lnTo>
                  <a:pt x="78" y="558"/>
                </a:lnTo>
                <a:lnTo>
                  <a:pt x="78" y="552"/>
                </a:lnTo>
                <a:lnTo>
                  <a:pt x="78" y="546"/>
                </a:lnTo>
                <a:lnTo>
                  <a:pt x="72" y="546"/>
                </a:lnTo>
                <a:lnTo>
                  <a:pt x="72" y="540"/>
                </a:lnTo>
                <a:lnTo>
                  <a:pt x="78" y="540"/>
                </a:lnTo>
                <a:lnTo>
                  <a:pt x="84" y="540"/>
                </a:lnTo>
                <a:lnTo>
                  <a:pt x="90" y="540"/>
                </a:lnTo>
                <a:lnTo>
                  <a:pt x="90" y="534"/>
                </a:lnTo>
                <a:lnTo>
                  <a:pt x="90" y="528"/>
                </a:lnTo>
                <a:lnTo>
                  <a:pt x="84" y="528"/>
                </a:lnTo>
                <a:lnTo>
                  <a:pt x="78" y="528"/>
                </a:lnTo>
                <a:lnTo>
                  <a:pt x="72" y="528"/>
                </a:lnTo>
                <a:lnTo>
                  <a:pt x="66" y="528"/>
                </a:lnTo>
                <a:lnTo>
                  <a:pt x="66" y="522"/>
                </a:lnTo>
                <a:lnTo>
                  <a:pt x="66" y="516"/>
                </a:lnTo>
                <a:lnTo>
                  <a:pt x="66" y="510"/>
                </a:lnTo>
                <a:lnTo>
                  <a:pt x="60" y="510"/>
                </a:lnTo>
                <a:lnTo>
                  <a:pt x="60" y="504"/>
                </a:lnTo>
                <a:lnTo>
                  <a:pt x="60" y="498"/>
                </a:lnTo>
                <a:lnTo>
                  <a:pt x="66" y="498"/>
                </a:lnTo>
                <a:lnTo>
                  <a:pt x="66" y="492"/>
                </a:lnTo>
                <a:lnTo>
                  <a:pt x="66" y="486"/>
                </a:lnTo>
                <a:lnTo>
                  <a:pt x="60" y="486"/>
                </a:lnTo>
                <a:lnTo>
                  <a:pt x="60" y="480"/>
                </a:lnTo>
                <a:lnTo>
                  <a:pt x="54" y="480"/>
                </a:lnTo>
                <a:lnTo>
                  <a:pt x="48" y="480"/>
                </a:lnTo>
                <a:lnTo>
                  <a:pt x="54" y="480"/>
                </a:lnTo>
                <a:lnTo>
                  <a:pt x="54" y="474"/>
                </a:lnTo>
                <a:lnTo>
                  <a:pt x="60" y="474"/>
                </a:lnTo>
                <a:lnTo>
                  <a:pt x="66" y="474"/>
                </a:lnTo>
                <a:lnTo>
                  <a:pt x="66" y="468"/>
                </a:lnTo>
                <a:lnTo>
                  <a:pt x="72" y="468"/>
                </a:lnTo>
                <a:lnTo>
                  <a:pt x="78" y="468"/>
                </a:lnTo>
                <a:lnTo>
                  <a:pt x="84" y="468"/>
                </a:lnTo>
                <a:lnTo>
                  <a:pt x="90" y="462"/>
                </a:lnTo>
                <a:lnTo>
                  <a:pt x="96" y="462"/>
                </a:lnTo>
                <a:lnTo>
                  <a:pt x="96" y="456"/>
                </a:lnTo>
                <a:lnTo>
                  <a:pt x="90" y="456"/>
                </a:lnTo>
                <a:lnTo>
                  <a:pt x="96" y="450"/>
                </a:lnTo>
                <a:lnTo>
                  <a:pt x="96" y="444"/>
                </a:lnTo>
                <a:lnTo>
                  <a:pt x="96" y="438"/>
                </a:lnTo>
                <a:lnTo>
                  <a:pt x="102" y="432"/>
                </a:lnTo>
                <a:lnTo>
                  <a:pt x="102" y="426"/>
                </a:lnTo>
                <a:lnTo>
                  <a:pt x="96" y="426"/>
                </a:lnTo>
                <a:lnTo>
                  <a:pt x="90" y="420"/>
                </a:lnTo>
                <a:lnTo>
                  <a:pt x="84" y="420"/>
                </a:lnTo>
                <a:lnTo>
                  <a:pt x="78" y="420"/>
                </a:lnTo>
                <a:lnTo>
                  <a:pt x="78" y="414"/>
                </a:lnTo>
                <a:lnTo>
                  <a:pt x="84" y="414"/>
                </a:lnTo>
                <a:lnTo>
                  <a:pt x="78" y="414"/>
                </a:lnTo>
                <a:lnTo>
                  <a:pt x="78" y="408"/>
                </a:lnTo>
                <a:lnTo>
                  <a:pt x="72" y="408"/>
                </a:lnTo>
                <a:lnTo>
                  <a:pt x="72" y="402"/>
                </a:lnTo>
                <a:lnTo>
                  <a:pt x="66" y="402"/>
                </a:lnTo>
                <a:lnTo>
                  <a:pt x="60" y="396"/>
                </a:lnTo>
                <a:lnTo>
                  <a:pt x="54" y="396"/>
                </a:lnTo>
                <a:lnTo>
                  <a:pt x="54" y="390"/>
                </a:lnTo>
                <a:lnTo>
                  <a:pt x="60" y="390"/>
                </a:lnTo>
                <a:lnTo>
                  <a:pt x="60" y="384"/>
                </a:lnTo>
                <a:lnTo>
                  <a:pt x="54" y="384"/>
                </a:lnTo>
                <a:lnTo>
                  <a:pt x="48" y="384"/>
                </a:lnTo>
                <a:lnTo>
                  <a:pt x="48" y="378"/>
                </a:lnTo>
                <a:lnTo>
                  <a:pt x="42" y="372"/>
                </a:lnTo>
                <a:lnTo>
                  <a:pt x="36" y="372"/>
                </a:lnTo>
                <a:lnTo>
                  <a:pt x="30" y="372"/>
                </a:lnTo>
                <a:lnTo>
                  <a:pt x="24" y="372"/>
                </a:lnTo>
                <a:lnTo>
                  <a:pt x="18" y="372"/>
                </a:lnTo>
                <a:lnTo>
                  <a:pt x="18" y="366"/>
                </a:lnTo>
                <a:lnTo>
                  <a:pt x="12" y="366"/>
                </a:lnTo>
                <a:lnTo>
                  <a:pt x="6" y="366"/>
                </a:lnTo>
                <a:lnTo>
                  <a:pt x="6" y="360"/>
                </a:lnTo>
                <a:lnTo>
                  <a:pt x="0" y="360"/>
                </a:lnTo>
                <a:lnTo>
                  <a:pt x="0" y="354"/>
                </a:lnTo>
                <a:lnTo>
                  <a:pt x="6" y="354"/>
                </a:lnTo>
                <a:lnTo>
                  <a:pt x="6" y="348"/>
                </a:lnTo>
                <a:lnTo>
                  <a:pt x="12" y="342"/>
                </a:lnTo>
                <a:lnTo>
                  <a:pt x="18" y="336"/>
                </a:lnTo>
                <a:lnTo>
                  <a:pt x="18" y="330"/>
                </a:lnTo>
                <a:lnTo>
                  <a:pt x="18" y="324"/>
                </a:lnTo>
                <a:lnTo>
                  <a:pt x="18" y="318"/>
                </a:lnTo>
                <a:lnTo>
                  <a:pt x="24" y="312"/>
                </a:lnTo>
                <a:lnTo>
                  <a:pt x="30" y="312"/>
                </a:lnTo>
                <a:lnTo>
                  <a:pt x="30" y="306"/>
                </a:lnTo>
                <a:lnTo>
                  <a:pt x="36" y="306"/>
                </a:lnTo>
                <a:lnTo>
                  <a:pt x="36" y="300"/>
                </a:lnTo>
                <a:lnTo>
                  <a:pt x="36" y="294"/>
                </a:lnTo>
                <a:lnTo>
                  <a:pt x="42" y="294"/>
                </a:lnTo>
                <a:lnTo>
                  <a:pt x="42" y="288"/>
                </a:lnTo>
                <a:lnTo>
                  <a:pt x="48" y="288"/>
                </a:lnTo>
                <a:lnTo>
                  <a:pt x="48" y="282"/>
                </a:lnTo>
                <a:lnTo>
                  <a:pt x="48" y="276"/>
                </a:lnTo>
                <a:lnTo>
                  <a:pt x="54" y="276"/>
                </a:lnTo>
                <a:lnTo>
                  <a:pt x="54" y="270"/>
                </a:lnTo>
                <a:lnTo>
                  <a:pt x="60" y="270"/>
                </a:lnTo>
                <a:lnTo>
                  <a:pt x="60" y="264"/>
                </a:lnTo>
                <a:lnTo>
                  <a:pt x="60" y="252"/>
                </a:lnTo>
                <a:lnTo>
                  <a:pt x="60" y="246"/>
                </a:lnTo>
                <a:lnTo>
                  <a:pt x="60" y="240"/>
                </a:lnTo>
                <a:lnTo>
                  <a:pt x="66" y="240"/>
                </a:lnTo>
                <a:lnTo>
                  <a:pt x="66" y="234"/>
                </a:lnTo>
                <a:lnTo>
                  <a:pt x="66" y="228"/>
                </a:lnTo>
                <a:lnTo>
                  <a:pt x="72" y="228"/>
                </a:lnTo>
                <a:lnTo>
                  <a:pt x="72" y="222"/>
                </a:lnTo>
                <a:lnTo>
                  <a:pt x="72" y="216"/>
                </a:lnTo>
                <a:lnTo>
                  <a:pt x="72" y="210"/>
                </a:lnTo>
                <a:lnTo>
                  <a:pt x="66" y="210"/>
                </a:lnTo>
                <a:lnTo>
                  <a:pt x="66" y="204"/>
                </a:lnTo>
                <a:lnTo>
                  <a:pt x="66" y="198"/>
                </a:lnTo>
                <a:lnTo>
                  <a:pt x="66" y="192"/>
                </a:lnTo>
                <a:lnTo>
                  <a:pt x="66" y="186"/>
                </a:lnTo>
                <a:lnTo>
                  <a:pt x="66" y="180"/>
                </a:lnTo>
                <a:lnTo>
                  <a:pt x="72" y="180"/>
                </a:lnTo>
                <a:lnTo>
                  <a:pt x="72" y="174"/>
                </a:lnTo>
                <a:lnTo>
                  <a:pt x="78" y="174"/>
                </a:lnTo>
                <a:lnTo>
                  <a:pt x="78" y="168"/>
                </a:lnTo>
                <a:lnTo>
                  <a:pt x="84" y="168"/>
                </a:lnTo>
                <a:lnTo>
                  <a:pt x="90" y="168"/>
                </a:lnTo>
                <a:lnTo>
                  <a:pt x="96" y="168"/>
                </a:lnTo>
                <a:lnTo>
                  <a:pt x="96" y="162"/>
                </a:lnTo>
                <a:lnTo>
                  <a:pt x="96" y="168"/>
                </a:lnTo>
                <a:lnTo>
                  <a:pt x="96" y="162"/>
                </a:lnTo>
                <a:lnTo>
                  <a:pt x="102" y="162"/>
                </a:lnTo>
                <a:lnTo>
                  <a:pt x="102" y="156"/>
                </a:lnTo>
                <a:lnTo>
                  <a:pt x="108" y="156"/>
                </a:lnTo>
                <a:lnTo>
                  <a:pt x="108" y="162"/>
                </a:lnTo>
                <a:lnTo>
                  <a:pt x="114" y="162"/>
                </a:lnTo>
                <a:lnTo>
                  <a:pt x="114" y="168"/>
                </a:lnTo>
                <a:lnTo>
                  <a:pt x="114" y="174"/>
                </a:lnTo>
                <a:lnTo>
                  <a:pt x="120" y="180"/>
                </a:lnTo>
                <a:lnTo>
                  <a:pt x="120" y="186"/>
                </a:lnTo>
                <a:lnTo>
                  <a:pt x="126" y="186"/>
                </a:lnTo>
                <a:lnTo>
                  <a:pt x="126" y="180"/>
                </a:lnTo>
                <a:lnTo>
                  <a:pt x="132" y="180"/>
                </a:lnTo>
                <a:lnTo>
                  <a:pt x="132" y="186"/>
                </a:lnTo>
                <a:lnTo>
                  <a:pt x="138" y="186"/>
                </a:lnTo>
                <a:lnTo>
                  <a:pt x="138" y="180"/>
                </a:lnTo>
                <a:lnTo>
                  <a:pt x="144" y="174"/>
                </a:lnTo>
                <a:lnTo>
                  <a:pt x="144" y="168"/>
                </a:lnTo>
                <a:lnTo>
                  <a:pt x="150" y="168"/>
                </a:lnTo>
                <a:lnTo>
                  <a:pt x="156" y="168"/>
                </a:lnTo>
                <a:lnTo>
                  <a:pt x="156" y="174"/>
                </a:lnTo>
                <a:lnTo>
                  <a:pt x="162" y="174"/>
                </a:lnTo>
                <a:lnTo>
                  <a:pt x="168" y="174"/>
                </a:lnTo>
                <a:lnTo>
                  <a:pt x="168" y="180"/>
                </a:lnTo>
                <a:lnTo>
                  <a:pt x="174" y="180"/>
                </a:lnTo>
                <a:lnTo>
                  <a:pt x="174" y="186"/>
                </a:lnTo>
                <a:lnTo>
                  <a:pt x="180" y="186"/>
                </a:lnTo>
                <a:lnTo>
                  <a:pt x="186" y="186"/>
                </a:lnTo>
                <a:lnTo>
                  <a:pt x="186" y="180"/>
                </a:lnTo>
                <a:lnTo>
                  <a:pt x="186" y="174"/>
                </a:lnTo>
                <a:lnTo>
                  <a:pt x="180" y="174"/>
                </a:lnTo>
                <a:lnTo>
                  <a:pt x="174" y="174"/>
                </a:lnTo>
                <a:lnTo>
                  <a:pt x="174" y="168"/>
                </a:lnTo>
                <a:lnTo>
                  <a:pt x="174" y="162"/>
                </a:lnTo>
                <a:lnTo>
                  <a:pt x="180" y="162"/>
                </a:lnTo>
                <a:lnTo>
                  <a:pt x="186" y="162"/>
                </a:lnTo>
                <a:lnTo>
                  <a:pt x="186" y="168"/>
                </a:lnTo>
                <a:lnTo>
                  <a:pt x="192" y="168"/>
                </a:lnTo>
                <a:lnTo>
                  <a:pt x="192" y="162"/>
                </a:lnTo>
                <a:lnTo>
                  <a:pt x="198" y="162"/>
                </a:lnTo>
                <a:lnTo>
                  <a:pt x="204" y="162"/>
                </a:lnTo>
                <a:lnTo>
                  <a:pt x="210" y="162"/>
                </a:lnTo>
                <a:lnTo>
                  <a:pt x="210" y="156"/>
                </a:lnTo>
                <a:lnTo>
                  <a:pt x="210" y="150"/>
                </a:lnTo>
                <a:lnTo>
                  <a:pt x="204" y="150"/>
                </a:lnTo>
                <a:lnTo>
                  <a:pt x="198" y="150"/>
                </a:lnTo>
                <a:lnTo>
                  <a:pt x="198" y="144"/>
                </a:lnTo>
                <a:lnTo>
                  <a:pt x="198" y="138"/>
                </a:lnTo>
                <a:lnTo>
                  <a:pt x="204" y="138"/>
                </a:lnTo>
                <a:lnTo>
                  <a:pt x="198" y="138"/>
                </a:lnTo>
                <a:lnTo>
                  <a:pt x="198" y="132"/>
                </a:lnTo>
                <a:lnTo>
                  <a:pt x="198" y="126"/>
                </a:lnTo>
                <a:lnTo>
                  <a:pt x="204" y="126"/>
                </a:lnTo>
                <a:lnTo>
                  <a:pt x="204" y="120"/>
                </a:lnTo>
                <a:lnTo>
                  <a:pt x="204" y="114"/>
                </a:lnTo>
                <a:lnTo>
                  <a:pt x="204" y="108"/>
                </a:lnTo>
                <a:lnTo>
                  <a:pt x="210" y="108"/>
                </a:lnTo>
                <a:lnTo>
                  <a:pt x="210" y="102"/>
                </a:lnTo>
                <a:lnTo>
                  <a:pt x="210" y="96"/>
                </a:lnTo>
                <a:lnTo>
                  <a:pt x="216" y="96"/>
                </a:lnTo>
                <a:lnTo>
                  <a:pt x="222" y="90"/>
                </a:lnTo>
                <a:lnTo>
                  <a:pt x="222" y="84"/>
                </a:lnTo>
                <a:lnTo>
                  <a:pt x="228" y="90"/>
                </a:lnTo>
                <a:lnTo>
                  <a:pt x="228" y="96"/>
                </a:lnTo>
                <a:lnTo>
                  <a:pt x="234" y="96"/>
                </a:lnTo>
                <a:lnTo>
                  <a:pt x="234" y="90"/>
                </a:lnTo>
                <a:lnTo>
                  <a:pt x="240" y="90"/>
                </a:lnTo>
                <a:lnTo>
                  <a:pt x="240" y="84"/>
                </a:lnTo>
                <a:lnTo>
                  <a:pt x="246" y="84"/>
                </a:lnTo>
                <a:lnTo>
                  <a:pt x="252" y="84"/>
                </a:lnTo>
                <a:lnTo>
                  <a:pt x="252" y="78"/>
                </a:lnTo>
                <a:lnTo>
                  <a:pt x="252" y="84"/>
                </a:lnTo>
                <a:lnTo>
                  <a:pt x="252" y="78"/>
                </a:lnTo>
                <a:lnTo>
                  <a:pt x="258" y="84"/>
                </a:lnTo>
                <a:lnTo>
                  <a:pt x="258" y="78"/>
                </a:lnTo>
                <a:lnTo>
                  <a:pt x="264" y="78"/>
                </a:lnTo>
                <a:lnTo>
                  <a:pt x="264" y="72"/>
                </a:lnTo>
                <a:lnTo>
                  <a:pt x="264" y="66"/>
                </a:lnTo>
                <a:lnTo>
                  <a:pt x="270" y="66"/>
                </a:lnTo>
                <a:lnTo>
                  <a:pt x="276" y="66"/>
                </a:lnTo>
                <a:lnTo>
                  <a:pt x="276" y="60"/>
                </a:lnTo>
                <a:lnTo>
                  <a:pt x="282" y="54"/>
                </a:lnTo>
                <a:lnTo>
                  <a:pt x="276" y="48"/>
                </a:lnTo>
                <a:lnTo>
                  <a:pt x="270" y="48"/>
                </a:lnTo>
                <a:lnTo>
                  <a:pt x="270" y="42"/>
                </a:lnTo>
                <a:lnTo>
                  <a:pt x="270" y="36"/>
                </a:lnTo>
                <a:lnTo>
                  <a:pt x="264" y="36"/>
                </a:lnTo>
                <a:lnTo>
                  <a:pt x="258" y="36"/>
                </a:lnTo>
                <a:lnTo>
                  <a:pt x="258" y="30"/>
                </a:lnTo>
                <a:lnTo>
                  <a:pt x="264" y="30"/>
                </a:lnTo>
                <a:lnTo>
                  <a:pt x="270" y="30"/>
                </a:lnTo>
                <a:lnTo>
                  <a:pt x="270" y="36"/>
                </a:lnTo>
                <a:lnTo>
                  <a:pt x="276" y="36"/>
                </a:lnTo>
                <a:lnTo>
                  <a:pt x="282" y="36"/>
                </a:lnTo>
                <a:lnTo>
                  <a:pt x="288" y="30"/>
                </a:lnTo>
                <a:lnTo>
                  <a:pt x="288" y="36"/>
                </a:lnTo>
                <a:lnTo>
                  <a:pt x="294" y="36"/>
                </a:lnTo>
                <a:lnTo>
                  <a:pt x="300" y="42"/>
                </a:lnTo>
                <a:lnTo>
                  <a:pt x="318" y="42"/>
                </a:lnTo>
                <a:lnTo>
                  <a:pt x="318" y="48"/>
                </a:lnTo>
                <a:lnTo>
                  <a:pt x="324" y="48"/>
                </a:lnTo>
                <a:lnTo>
                  <a:pt x="330" y="48"/>
                </a:lnTo>
                <a:lnTo>
                  <a:pt x="330" y="42"/>
                </a:lnTo>
                <a:lnTo>
                  <a:pt x="336" y="42"/>
                </a:lnTo>
                <a:lnTo>
                  <a:pt x="342" y="36"/>
                </a:lnTo>
                <a:lnTo>
                  <a:pt x="342" y="30"/>
                </a:lnTo>
                <a:lnTo>
                  <a:pt x="342" y="24"/>
                </a:lnTo>
                <a:lnTo>
                  <a:pt x="342" y="18"/>
                </a:lnTo>
                <a:lnTo>
                  <a:pt x="348" y="18"/>
                </a:lnTo>
                <a:lnTo>
                  <a:pt x="348" y="12"/>
                </a:lnTo>
                <a:lnTo>
                  <a:pt x="348" y="6"/>
                </a:lnTo>
                <a:lnTo>
                  <a:pt x="348" y="0"/>
                </a:lnTo>
                <a:lnTo>
                  <a:pt x="354" y="0"/>
                </a:lnTo>
                <a:lnTo>
                  <a:pt x="360" y="0"/>
                </a:lnTo>
                <a:lnTo>
                  <a:pt x="360" y="6"/>
                </a:lnTo>
                <a:lnTo>
                  <a:pt x="366" y="12"/>
                </a:lnTo>
                <a:lnTo>
                  <a:pt x="372" y="12"/>
                </a:lnTo>
                <a:lnTo>
                  <a:pt x="378" y="6"/>
                </a:lnTo>
                <a:lnTo>
                  <a:pt x="384" y="6"/>
                </a:lnTo>
                <a:lnTo>
                  <a:pt x="390" y="6"/>
                </a:lnTo>
                <a:lnTo>
                  <a:pt x="390" y="12"/>
                </a:lnTo>
                <a:lnTo>
                  <a:pt x="390" y="18"/>
                </a:lnTo>
                <a:lnTo>
                  <a:pt x="396" y="18"/>
                </a:lnTo>
                <a:lnTo>
                  <a:pt x="402" y="18"/>
                </a:lnTo>
                <a:lnTo>
                  <a:pt x="402" y="12"/>
                </a:lnTo>
                <a:lnTo>
                  <a:pt x="408" y="12"/>
                </a:lnTo>
                <a:lnTo>
                  <a:pt x="408" y="18"/>
                </a:lnTo>
                <a:lnTo>
                  <a:pt x="408" y="24"/>
                </a:lnTo>
                <a:lnTo>
                  <a:pt x="408" y="30"/>
                </a:lnTo>
                <a:lnTo>
                  <a:pt x="414" y="24"/>
                </a:lnTo>
                <a:lnTo>
                  <a:pt x="420" y="24"/>
                </a:lnTo>
                <a:lnTo>
                  <a:pt x="420" y="18"/>
                </a:lnTo>
                <a:lnTo>
                  <a:pt x="420" y="24"/>
                </a:lnTo>
                <a:lnTo>
                  <a:pt x="426" y="24"/>
                </a:lnTo>
                <a:lnTo>
                  <a:pt x="432" y="24"/>
                </a:lnTo>
                <a:lnTo>
                  <a:pt x="432" y="18"/>
                </a:lnTo>
                <a:lnTo>
                  <a:pt x="438" y="18"/>
                </a:lnTo>
                <a:lnTo>
                  <a:pt x="444" y="18"/>
                </a:lnTo>
                <a:lnTo>
                  <a:pt x="444" y="24"/>
                </a:lnTo>
                <a:lnTo>
                  <a:pt x="444" y="30"/>
                </a:lnTo>
                <a:lnTo>
                  <a:pt x="444" y="36"/>
                </a:lnTo>
                <a:lnTo>
                  <a:pt x="450" y="36"/>
                </a:lnTo>
                <a:lnTo>
                  <a:pt x="444" y="42"/>
                </a:lnTo>
                <a:lnTo>
                  <a:pt x="444" y="48"/>
                </a:lnTo>
                <a:lnTo>
                  <a:pt x="444" y="54"/>
                </a:lnTo>
                <a:lnTo>
                  <a:pt x="450" y="54"/>
                </a:lnTo>
                <a:lnTo>
                  <a:pt x="456" y="54"/>
                </a:lnTo>
                <a:lnTo>
                  <a:pt x="462" y="54"/>
                </a:lnTo>
                <a:lnTo>
                  <a:pt x="468" y="54"/>
                </a:lnTo>
                <a:lnTo>
                  <a:pt x="474" y="54"/>
                </a:lnTo>
                <a:lnTo>
                  <a:pt x="480" y="54"/>
                </a:lnTo>
                <a:lnTo>
                  <a:pt x="486" y="54"/>
                </a:lnTo>
                <a:lnTo>
                  <a:pt x="492" y="54"/>
                </a:lnTo>
                <a:lnTo>
                  <a:pt x="498" y="54"/>
                </a:lnTo>
                <a:lnTo>
                  <a:pt x="504" y="54"/>
                </a:lnTo>
                <a:lnTo>
                  <a:pt x="510" y="54"/>
                </a:lnTo>
                <a:lnTo>
                  <a:pt x="516" y="54"/>
                </a:lnTo>
                <a:lnTo>
                  <a:pt x="516" y="48"/>
                </a:lnTo>
                <a:lnTo>
                  <a:pt x="516" y="54"/>
                </a:lnTo>
                <a:lnTo>
                  <a:pt x="522" y="54"/>
                </a:lnTo>
                <a:lnTo>
                  <a:pt x="528" y="54"/>
                </a:lnTo>
                <a:lnTo>
                  <a:pt x="534" y="54"/>
                </a:lnTo>
                <a:lnTo>
                  <a:pt x="534" y="48"/>
                </a:lnTo>
                <a:lnTo>
                  <a:pt x="534" y="54"/>
                </a:lnTo>
                <a:lnTo>
                  <a:pt x="540" y="54"/>
                </a:lnTo>
                <a:lnTo>
                  <a:pt x="540" y="48"/>
                </a:lnTo>
                <a:lnTo>
                  <a:pt x="540" y="42"/>
                </a:lnTo>
                <a:lnTo>
                  <a:pt x="546" y="42"/>
                </a:lnTo>
                <a:lnTo>
                  <a:pt x="552" y="42"/>
                </a:lnTo>
                <a:lnTo>
                  <a:pt x="558" y="42"/>
                </a:lnTo>
                <a:lnTo>
                  <a:pt x="558" y="48"/>
                </a:lnTo>
                <a:lnTo>
                  <a:pt x="558" y="54"/>
                </a:lnTo>
                <a:lnTo>
                  <a:pt x="564" y="60"/>
                </a:lnTo>
                <a:lnTo>
                  <a:pt x="570" y="54"/>
                </a:lnTo>
                <a:lnTo>
                  <a:pt x="576" y="66"/>
                </a:lnTo>
                <a:lnTo>
                  <a:pt x="582" y="72"/>
                </a:lnTo>
                <a:lnTo>
                  <a:pt x="588" y="72"/>
                </a:lnTo>
                <a:lnTo>
                  <a:pt x="594" y="72"/>
                </a:lnTo>
                <a:lnTo>
                  <a:pt x="594" y="66"/>
                </a:lnTo>
                <a:lnTo>
                  <a:pt x="594" y="60"/>
                </a:lnTo>
                <a:lnTo>
                  <a:pt x="594" y="54"/>
                </a:lnTo>
                <a:lnTo>
                  <a:pt x="588" y="54"/>
                </a:lnTo>
                <a:lnTo>
                  <a:pt x="594" y="54"/>
                </a:lnTo>
                <a:lnTo>
                  <a:pt x="600" y="54"/>
                </a:lnTo>
                <a:lnTo>
                  <a:pt x="606" y="54"/>
                </a:lnTo>
                <a:lnTo>
                  <a:pt x="612" y="54"/>
                </a:lnTo>
                <a:lnTo>
                  <a:pt x="618" y="54"/>
                </a:lnTo>
                <a:lnTo>
                  <a:pt x="624" y="48"/>
                </a:lnTo>
                <a:lnTo>
                  <a:pt x="624" y="42"/>
                </a:lnTo>
                <a:lnTo>
                  <a:pt x="630" y="36"/>
                </a:lnTo>
                <a:lnTo>
                  <a:pt x="630" y="30"/>
                </a:lnTo>
                <a:lnTo>
                  <a:pt x="630" y="36"/>
                </a:lnTo>
                <a:lnTo>
                  <a:pt x="636" y="36"/>
                </a:lnTo>
                <a:lnTo>
                  <a:pt x="636" y="30"/>
                </a:lnTo>
                <a:lnTo>
                  <a:pt x="642" y="30"/>
                </a:lnTo>
                <a:lnTo>
                  <a:pt x="642" y="36"/>
                </a:lnTo>
                <a:lnTo>
                  <a:pt x="648" y="36"/>
                </a:lnTo>
                <a:lnTo>
                  <a:pt x="648" y="42"/>
                </a:lnTo>
                <a:lnTo>
                  <a:pt x="654" y="42"/>
                </a:lnTo>
                <a:lnTo>
                  <a:pt x="654" y="36"/>
                </a:lnTo>
                <a:lnTo>
                  <a:pt x="660" y="36"/>
                </a:lnTo>
                <a:lnTo>
                  <a:pt x="660" y="42"/>
                </a:lnTo>
                <a:lnTo>
                  <a:pt x="666" y="36"/>
                </a:lnTo>
                <a:lnTo>
                  <a:pt x="672" y="30"/>
                </a:lnTo>
                <a:lnTo>
                  <a:pt x="678" y="24"/>
                </a:lnTo>
                <a:lnTo>
                  <a:pt x="684" y="24"/>
                </a:lnTo>
                <a:lnTo>
                  <a:pt x="684" y="30"/>
                </a:lnTo>
                <a:lnTo>
                  <a:pt x="684" y="36"/>
                </a:lnTo>
                <a:lnTo>
                  <a:pt x="684" y="42"/>
                </a:lnTo>
                <a:lnTo>
                  <a:pt x="684" y="48"/>
                </a:lnTo>
                <a:lnTo>
                  <a:pt x="678" y="48"/>
                </a:lnTo>
                <a:lnTo>
                  <a:pt x="678" y="54"/>
                </a:lnTo>
                <a:lnTo>
                  <a:pt x="678" y="60"/>
                </a:lnTo>
                <a:lnTo>
                  <a:pt x="672" y="60"/>
                </a:lnTo>
                <a:lnTo>
                  <a:pt x="672" y="66"/>
                </a:lnTo>
                <a:lnTo>
                  <a:pt x="672" y="72"/>
                </a:lnTo>
                <a:lnTo>
                  <a:pt x="672" y="78"/>
                </a:lnTo>
                <a:lnTo>
                  <a:pt x="678" y="84"/>
                </a:lnTo>
                <a:lnTo>
                  <a:pt x="684" y="90"/>
                </a:lnTo>
                <a:lnTo>
                  <a:pt x="684" y="96"/>
                </a:lnTo>
                <a:lnTo>
                  <a:pt x="690" y="96"/>
                </a:lnTo>
                <a:lnTo>
                  <a:pt x="702" y="96"/>
                </a:lnTo>
                <a:lnTo>
                  <a:pt x="714" y="96"/>
                </a:lnTo>
                <a:lnTo>
                  <a:pt x="726" y="96"/>
                </a:lnTo>
                <a:lnTo>
                  <a:pt x="732" y="96"/>
                </a:lnTo>
                <a:lnTo>
                  <a:pt x="738" y="96"/>
                </a:lnTo>
                <a:lnTo>
                  <a:pt x="744" y="96"/>
                </a:lnTo>
                <a:lnTo>
                  <a:pt x="744" y="102"/>
                </a:lnTo>
                <a:lnTo>
                  <a:pt x="750" y="102"/>
                </a:lnTo>
                <a:lnTo>
                  <a:pt x="756" y="102"/>
                </a:lnTo>
                <a:lnTo>
                  <a:pt x="756" y="108"/>
                </a:lnTo>
                <a:lnTo>
                  <a:pt x="756" y="114"/>
                </a:lnTo>
                <a:lnTo>
                  <a:pt x="756" y="108"/>
                </a:lnTo>
                <a:lnTo>
                  <a:pt x="762" y="108"/>
                </a:lnTo>
                <a:lnTo>
                  <a:pt x="762" y="102"/>
                </a:lnTo>
                <a:lnTo>
                  <a:pt x="768" y="102"/>
                </a:lnTo>
                <a:lnTo>
                  <a:pt x="774" y="102"/>
                </a:lnTo>
                <a:lnTo>
                  <a:pt x="780" y="102"/>
                </a:lnTo>
                <a:lnTo>
                  <a:pt x="786" y="102"/>
                </a:lnTo>
                <a:lnTo>
                  <a:pt x="792" y="96"/>
                </a:lnTo>
                <a:lnTo>
                  <a:pt x="798" y="96"/>
                </a:lnTo>
                <a:lnTo>
                  <a:pt x="804" y="96"/>
                </a:lnTo>
                <a:lnTo>
                  <a:pt x="810" y="96"/>
                </a:lnTo>
                <a:lnTo>
                  <a:pt x="816" y="96"/>
                </a:lnTo>
                <a:lnTo>
                  <a:pt x="816" y="90"/>
                </a:lnTo>
                <a:lnTo>
                  <a:pt x="816" y="96"/>
                </a:lnTo>
                <a:lnTo>
                  <a:pt x="816" y="90"/>
                </a:lnTo>
                <a:lnTo>
                  <a:pt x="822" y="90"/>
                </a:lnTo>
                <a:lnTo>
                  <a:pt x="828" y="90"/>
                </a:lnTo>
                <a:lnTo>
                  <a:pt x="834" y="90"/>
                </a:lnTo>
                <a:lnTo>
                  <a:pt x="834" y="84"/>
                </a:lnTo>
                <a:lnTo>
                  <a:pt x="840" y="90"/>
                </a:lnTo>
                <a:lnTo>
                  <a:pt x="840" y="84"/>
                </a:lnTo>
                <a:lnTo>
                  <a:pt x="840" y="90"/>
                </a:lnTo>
                <a:lnTo>
                  <a:pt x="852" y="9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6" name="Freeform 14">
            <a:extLst>
              <a:ext uri="{FF2B5EF4-FFF2-40B4-BE49-F238E27FC236}">
                <a16:creationId xmlns:a16="http://schemas.microsoft.com/office/drawing/2014/main" id="{9A24E2C8-BE27-4080-903D-0A0F8E63830F}"/>
              </a:ext>
            </a:extLst>
          </p:cNvPr>
          <p:cNvSpPr>
            <a:spLocks/>
          </p:cNvSpPr>
          <p:nvPr/>
        </p:nvSpPr>
        <p:spPr bwMode="gray">
          <a:xfrm rot="533595">
            <a:off x="4498742" y="2614208"/>
            <a:ext cx="1469561" cy="1650790"/>
          </a:xfrm>
          <a:custGeom>
            <a:avLst/>
            <a:gdLst>
              <a:gd name="T0" fmla="*/ 654 w 1620"/>
              <a:gd name="T1" fmla="*/ 222 h 1950"/>
              <a:gd name="T2" fmla="*/ 732 w 1620"/>
              <a:gd name="T3" fmla="*/ 306 h 1950"/>
              <a:gd name="T4" fmla="*/ 726 w 1620"/>
              <a:gd name="T5" fmla="*/ 390 h 1950"/>
              <a:gd name="T6" fmla="*/ 702 w 1620"/>
              <a:gd name="T7" fmla="*/ 504 h 1950"/>
              <a:gd name="T8" fmla="*/ 804 w 1620"/>
              <a:gd name="T9" fmla="*/ 570 h 1950"/>
              <a:gd name="T10" fmla="*/ 762 w 1620"/>
              <a:gd name="T11" fmla="*/ 666 h 1950"/>
              <a:gd name="T12" fmla="*/ 798 w 1620"/>
              <a:gd name="T13" fmla="*/ 726 h 1950"/>
              <a:gd name="T14" fmla="*/ 876 w 1620"/>
              <a:gd name="T15" fmla="*/ 714 h 1950"/>
              <a:gd name="T16" fmla="*/ 918 w 1620"/>
              <a:gd name="T17" fmla="*/ 780 h 1950"/>
              <a:gd name="T18" fmla="*/ 1008 w 1620"/>
              <a:gd name="T19" fmla="*/ 768 h 1950"/>
              <a:gd name="T20" fmla="*/ 1050 w 1620"/>
              <a:gd name="T21" fmla="*/ 810 h 1950"/>
              <a:gd name="T22" fmla="*/ 1134 w 1620"/>
              <a:gd name="T23" fmla="*/ 834 h 1950"/>
              <a:gd name="T24" fmla="*/ 1242 w 1620"/>
              <a:gd name="T25" fmla="*/ 804 h 1950"/>
              <a:gd name="T26" fmla="*/ 1314 w 1620"/>
              <a:gd name="T27" fmla="*/ 828 h 1950"/>
              <a:gd name="T28" fmla="*/ 1398 w 1620"/>
              <a:gd name="T29" fmla="*/ 882 h 1950"/>
              <a:gd name="T30" fmla="*/ 1476 w 1620"/>
              <a:gd name="T31" fmla="*/ 924 h 1950"/>
              <a:gd name="T32" fmla="*/ 1548 w 1620"/>
              <a:gd name="T33" fmla="*/ 900 h 1950"/>
              <a:gd name="T34" fmla="*/ 1614 w 1620"/>
              <a:gd name="T35" fmla="*/ 966 h 1950"/>
              <a:gd name="T36" fmla="*/ 1548 w 1620"/>
              <a:gd name="T37" fmla="*/ 1032 h 1950"/>
              <a:gd name="T38" fmla="*/ 1518 w 1620"/>
              <a:gd name="T39" fmla="*/ 1128 h 1950"/>
              <a:gd name="T40" fmla="*/ 1464 w 1620"/>
              <a:gd name="T41" fmla="*/ 1194 h 1950"/>
              <a:gd name="T42" fmla="*/ 1458 w 1620"/>
              <a:gd name="T43" fmla="*/ 1302 h 1950"/>
              <a:gd name="T44" fmla="*/ 1368 w 1620"/>
              <a:gd name="T45" fmla="*/ 1338 h 1950"/>
              <a:gd name="T46" fmla="*/ 1332 w 1620"/>
              <a:gd name="T47" fmla="*/ 1422 h 1950"/>
              <a:gd name="T48" fmla="*/ 1320 w 1620"/>
              <a:gd name="T49" fmla="*/ 1524 h 1950"/>
              <a:gd name="T50" fmla="*/ 1338 w 1620"/>
              <a:gd name="T51" fmla="*/ 1632 h 1950"/>
              <a:gd name="T52" fmla="*/ 1254 w 1620"/>
              <a:gd name="T53" fmla="*/ 1680 h 1950"/>
              <a:gd name="T54" fmla="*/ 1212 w 1620"/>
              <a:gd name="T55" fmla="*/ 1764 h 1950"/>
              <a:gd name="T56" fmla="*/ 1260 w 1620"/>
              <a:gd name="T57" fmla="*/ 1824 h 1950"/>
              <a:gd name="T58" fmla="*/ 1224 w 1620"/>
              <a:gd name="T59" fmla="*/ 1908 h 1950"/>
              <a:gd name="T60" fmla="*/ 1092 w 1620"/>
              <a:gd name="T61" fmla="*/ 1932 h 1950"/>
              <a:gd name="T62" fmla="*/ 1050 w 1620"/>
              <a:gd name="T63" fmla="*/ 1848 h 1950"/>
              <a:gd name="T64" fmla="*/ 1032 w 1620"/>
              <a:gd name="T65" fmla="*/ 1734 h 1950"/>
              <a:gd name="T66" fmla="*/ 960 w 1620"/>
              <a:gd name="T67" fmla="*/ 1728 h 1950"/>
              <a:gd name="T68" fmla="*/ 930 w 1620"/>
              <a:gd name="T69" fmla="*/ 1644 h 1950"/>
              <a:gd name="T70" fmla="*/ 858 w 1620"/>
              <a:gd name="T71" fmla="*/ 1560 h 1950"/>
              <a:gd name="T72" fmla="*/ 756 w 1620"/>
              <a:gd name="T73" fmla="*/ 1602 h 1950"/>
              <a:gd name="T74" fmla="*/ 666 w 1620"/>
              <a:gd name="T75" fmla="*/ 1644 h 1950"/>
              <a:gd name="T76" fmla="*/ 558 w 1620"/>
              <a:gd name="T77" fmla="*/ 1608 h 1950"/>
              <a:gd name="T78" fmla="*/ 480 w 1620"/>
              <a:gd name="T79" fmla="*/ 1554 h 1950"/>
              <a:gd name="T80" fmla="*/ 414 w 1620"/>
              <a:gd name="T81" fmla="*/ 1482 h 1950"/>
              <a:gd name="T82" fmla="*/ 330 w 1620"/>
              <a:gd name="T83" fmla="*/ 1428 h 1950"/>
              <a:gd name="T84" fmla="*/ 228 w 1620"/>
              <a:gd name="T85" fmla="*/ 1410 h 1950"/>
              <a:gd name="T86" fmla="*/ 180 w 1620"/>
              <a:gd name="T87" fmla="*/ 1350 h 1950"/>
              <a:gd name="T88" fmla="*/ 126 w 1620"/>
              <a:gd name="T89" fmla="*/ 1272 h 1950"/>
              <a:gd name="T90" fmla="*/ 78 w 1620"/>
              <a:gd name="T91" fmla="*/ 1218 h 1950"/>
              <a:gd name="T92" fmla="*/ 72 w 1620"/>
              <a:gd name="T93" fmla="*/ 1080 h 1950"/>
              <a:gd name="T94" fmla="*/ 42 w 1620"/>
              <a:gd name="T95" fmla="*/ 1002 h 1950"/>
              <a:gd name="T96" fmla="*/ 36 w 1620"/>
              <a:gd name="T97" fmla="*/ 912 h 1950"/>
              <a:gd name="T98" fmla="*/ 6 w 1620"/>
              <a:gd name="T99" fmla="*/ 792 h 1950"/>
              <a:gd name="T100" fmla="*/ 54 w 1620"/>
              <a:gd name="T101" fmla="*/ 708 h 1950"/>
              <a:gd name="T102" fmla="*/ 72 w 1620"/>
              <a:gd name="T103" fmla="*/ 612 h 1950"/>
              <a:gd name="T104" fmla="*/ 72 w 1620"/>
              <a:gd name="T105" fmla="*/ 522 h 1950"/>
              <a:gd name="T106" fmla="*/ 210 w 1620"/>
              <a:gd name="T107" fmla="*/ 504 h 1950"/>
              <a:gd name="T108" fmla="*/ 264 w 1620"/>
              <a:gd name="T109" fmla="*/ 414 h 1950"/>
              <a:gd name="T110" fmla="*/ 354 w 1620"/>
              <a:gd name="T111" fmla="*/ 360 h 1950"/>
              <a:gd name="T112" fmla="*/ 348 w 1620"/>
              <a:gd name="T113" fmla="*/ 270 h 1950"/>
              <a:gd name="T114" fmla="*/ 264 w 1620"/>
              <a:gd name="T115" fmla="*/ 204 h 1950"/>
              <a:gd name="T116" fmla="*/ 336 w 1620"/>
              <a:gd name="T117" fmla="*/ 144 h 1950"/>
              <a:gd name="T118" fmla="*/ 402 w 1620"/>
              <a:gd name="T119" fmla="*/ 30 h 1950"/>
              <a:gd name="T120" fmla="*/ 480 w 1620"/>
              <a:gd name="T121" fmla="*/ 66 h 1950"/>
              <a:gd name="T122" fmla="*/ 552 w 1620"/>
              <a:gd name="T123" fmla="*/ 84 h 1950"/>
              <a:gd name="T124" fmla="*/ 696 w 1620"/>
              <a:gd name="T125" fmla="*/ 102 h 195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20" h="1950">
                <a:moveTo>
                  <a:pt x="696" y="102"/>
                </a:moveTo>
                <a:lnTo>
                  <a:pt x="696" y="114"/>
                </a:lnTo>
                <a:lnTo>
                  <a:pt x="696" y="120"/>
                </a:lnTo>
                <a:lnTo>
                  <a:pt x="690" y="120"/>
                </a:lnTo>
                <a:lnTo>
                  <a:pt x="690" y="126"/>
                </a:lnTo>
                <a:lnTo>
                  <a:pt x="684" y="126"/>
                </a:lnTo>
                <a:lnTo>
                  <a:pt x="684" y="132"/>
                </a:lnTo>
                <a:lnTo>
                  <a:pt x="684" y="138"/>
                </a:lnTo>
                <a:lnTo>
                  <a:pt x="678" y="138"/>
                </a:lnTo>
                <a:lnTo>
                  <a:pt x="678" y="144"/>
                </a:lnTo>
                <a:lnTo>
                  <a:pt x="672" y="144"/>
                </a:lnTo>
                <a:lnTo>
                  <a:pt x="672" y="150"/>
                </a:lnTo>
                <a:lnTo>
                  <a:pt x="672" y="156"/>
                </a:lnTo>
                <a:lnTo>
                  <a:pt x="666" y="156"/>
                </a:lnTo>
                <a:lnTo>
                  <a:pt x="666" y="162"/>
                </a:lnTo>
                <a:lnTo>
                  <a:pt x="660" y="162"/>
                </a:lnTo>
                <a:lnTo>
                  <a:pt x="654" y="168"/>
                </a:lnTo>
                <a:lnTo>
                  <a:pt x="654" y="174"/>
                </a:lnTo>
                <a:lnTo>
                  <a:pt x="654" y="180"/>
                </a:lnTo>
                <a:lnTo>
                  <a:pt x="654" y="186"/>
                </a:lnTo>
                <a:lnTo>
                  <a:pt x="648" y="192"/>
                </a:lnTo>
                <a:lnTo>
                  <a:pt x="642" y="198"/>
                </a:lnTo>
                <a:lnTo>
                  <a:pt x="642" y="204"/>
                </a:lnTo>
                <a:lnTo>
                  <a:pt x="636" y="204"/>
                </a:lnTo>
                <a:lnTo>
                  <a:pt x="636" y="210"/>
                </a:lnTo>
                <a:lnTo>
                  <a:pt x="642" y="210"/>
                </a:lnTo>
                <a:lnTo>
                  <a:pt x="642" y="216"/>
                </a:lnTo>
                <a:lnTo>
                  <a:pt x="648" y="216"/>
                </a:lnTo>
                <a:lnTo>
                  <a:pt x="654" y="216"/>
                </a:lnTo>
                <a:lnTo>
                  <a:pt x="654" y="222"/>
                </a:lnTo>
                <a:lnTo>
                  <a:pt x="660" y="222"/>
                </a:lnTo>
                <a:lnTo>
                  <a:pt x="666" y="222"/>
                </a:lnTo>
                <a:lnTo>
                  <a:pt x="672" y="222"/>
                </a:lnTo>
                <a:lnTo>
                  <a:pt x="678" y="222"/>
                </a:lnTo>
                <a:lnTo>
                  <a:pt x="684" y="228"/>
                </a:lnTo>
                <a:lnTo>
                  <a:pt x="684" y="234"/>
                </a:lnTo>
                <a:lnTo>
                  <a:pt x="690" y="234"/>
                </a:lnTo>
                <a:lnTo>
                  <a:pt x="696" y="234"/>
                </a:lnTo>
                <a:lnTo>
                  <a:pt x="696" y="240"/>
                </a:lnTo>
                <a:lnTo>
                  <a:pt x="690" y="240"/>
                </a:lnTo>
                <a:lnTo>
                  <a:pt x="690" y="246"/>
                </a:lnTo>
                <a:lnTo>
                  <a:pt x="696" y="246"/>
                </a:lnTo>
                <a:lnTo>
                  <a:pt x="702" y="252"/>
                </a:lnTo>
                <a:lnTo>
                  <a:pt x="708" y="252"/>
                </a:lnTo>
                <a:lnTo>
                  <a:pt x="708" y="258"/>
                </a:lnTo>
                <a:lnTo>
                  <a:pt x="714" y="258"/>
                </a:lnTo>
                <a:lnTo>
                  <a:pt x="714" y="264"/>
                </a:lnTo>
                <a:lnTo>
                  <a:pt x="720" y="264"/>
                </a:lnTo>
                <a:lnTo>
                  <a:pt x="714" y="264"/>
                </a:lnTo>
                <a:lnTo>
                  <a:pt x="714" y="270"/>
                </a:lnTo>
                <a:lnTo>
                  <a:pt x="720" y="270"/>
                </a:lnTo>
                <a:lnTo>
                  <a:pt x="726" y="270"/>
                </a:lnTo>
                <a:lnTo>
                  <a:pt x="732" y="276"/>
                </a:lnTo>
                <a:lnTo>
                  <a:pt x="738" y="276"/>
                </a:lnTo>
                <a:lnTo>
                  <a:pt x="738" y="282"/>
                </a:lnTo>
                <a:lnTo>
                  <a:pt x="732" y="288"/>
                </a:lnTo>
                <a:lnTo>
                  <a:pt x="732" y="294"/>
                </a:lnTo>
                <a:lnTo>
                  <a:pt x="732" y="300"/>
                </a:lnTo>
                <a:lnTo>
                  <a:pt x="726" y="306"/>
                </a:lnTo>
                <a:lnTo>
                  <a:pt x="732" y="306"/>
                </a:lnTo>
                <a:lnTo>
                  <a:pt x="732" y="312"/>
                </a:lnTo>
                <a:lnTo>
                  <a:pt x="726" y="312"/>
                </a:lnTo>
                <a:lnTo>
                  <a:pt x="720" y="318"/>
                </a:lnTo>
                <a:lnTo>
                  <a:pt x="714" y="318"/>
                </a:lnTo>
                <a:lnTo>
                  <a:pt x="708" y="318"/>
                </a:lnTo>
                <a:lnTo>
                  <a:pt x="702" y="318"/>
                </a:lnTo>
                <a:lnTo>
                  <a:pt x="702" y="324"/>
                </a:lnTo>
                <a:lnTo>
                  <a:pt x="696" y="324"/>
                </a:lnTo>
                <a:lnTo>
                  <a:pt x="690" y="324"/>
                </a:lnTo>
                <a:lnTo>
                  <a:pt x="690" y="330"/>
                </a:lnTo>
                <a:lnTo>
                  <a:pt x="684" y="330"/>
                </a:lnTo>
                <a:lnTo>
                  <a:pt x="690" y="330"/>
                </a:lnTo>
                <a:lnTo>
                  <a:pt x="696" y="330"/>
                </a:lnTo>
                <a:lnTo>
                  <a:pt x="696" y="336"/>
                </a:lnTo>
                <a:lnTo>
                  <a:pt x="702" y="336"/>
                </a:lnTo>
                <a:lnTo>
                  <a:pt x="702" y="342"/>
                </a:lnTo>
                <a:lnTo>
                  <a:pt x="702" y="348"/>
                </a:lnTo>
                <a:lnTo>
                  <a:pt x="696" y="348"/>
                </a:lnTo>
                <a:lnTo>
                  <a:pt x="696" y="354"/>
                </a:lnTo>
                <a:lnTo>
                  <a:pt x="696" y="360"/>
                </a:lnTo>
                <a:lnTo>
                  <a:pt x="702" y="360"/>
                </a:lnTo>
                <a:lnTo>
                  <a:pt x="702" y="366"/>
                </a:lnTo>
                <a:lnTo>
                  <a:pt x="702" y="372"/>
                </a:lnTo>
                <a:lnTo>
                  <a:pt x="702" y="378"/>
                </a:lnTo>
                <a:lnTo>
                  <a:pt x="708" y="378"/>
                </a:lnTo>
                <a:lnTo>
                  <a:pt x="714" y="378"/>
                </a:lnTo>
                <a:lnTo>
                  <a:pt x="720" y="378"/>
                </a:lnTo>
                <a:lnTo>
                  <a:pt x="726" y="378"/>
                </a:lnTo>
                <a:lnTo>
                  <a:pt x="726" y="384"/>
                </a:lnTo>
                <a:lnTo>
                  <a:pt x="726" y="390"/>
                </a:lnTo>
                <a:lnTo>
                  <a:pt x="720" y="390"/>
                </a:lnTo>
                <a:lnTo>
                  <a:pt x="714" y="390"/>
                </a:lnTo>
                <a:lnTo>
                  <a:pt x="708" y="390"/>
                </a:lnTo>
                <a:lnTo>
                  <a:pt x="708" y="396"/>
                </a:lnTo>
                <a:lnTo>
                  <a:pt x="714" y="396"/>
                </a:lnTo>
                <a:lnTo>
                  <a:pt x="714" y="402"/>
                </a:lnTo>
                <a:lnTo>
                  <a:pt x="714" y="408"/>
                </a:lnTo>
                <a:lnTo>
                  <a:pt x="714" y="414"/>
                </a:lnTo>
                <a:lnTo>
                  <a:pt x="714" y="420"/>
                </a:lnTo>
                <a:lnTo>
                  <a:pt x="714" y="426"/>
                </a:lnTo>
                <a:lnTo>
                  <a:pt x="714" y="432"/>
                </a:lnTo>
                <a:lnTo>
                  <a:pt x="708" y="432"/>
                </a:lnTo>
                <a:lnTo>
                  <a:pt x="702" y="432"/>
                </a:lnTo>
                <a:lnTo>
                  <a:pt x="702" y="438"/>
                </a:lnTo>
                <a:lnTo>
                  <a:pt x="696" y="432"/>
                </a:lnTo>
                <a:lnTo>
                  <a:pt x="702" y="438"/>
                </a:lnTo>
                <a:lnTo>
                  <a:pt x="702" y="444"/>
                </a:lnTo>
                <a:lnTo>
                  <a:pt x="702" y="450"/>
                </a:lnTo>
                <a:lnTo>
                  <a:pt x="702" y="456"/>
                </a:lnTo>
                <a:lnTo>
                  <a:pt x="708" y="456"/>
                </a:lnTo>
                <a:lnTo>
                  <a:pt x="708" y="462"/>
                </a:lnTo>
                <a:lnTo>
                  <a:pt x="708" y="468"/>
                </a:lnTo>
                <a:lnTo>
                  <a:pt x="708" y="474"/>
                </a:lnTo>
                <a:lnTo>
                  <a:pt x="708" y="480"/>
                </a:lnTo>
                <a:lnTo>
                  <a:pt x="702" y="480"/>
                </a:lnTo>
                <a:lnTo>
                  <a:pt x="696" y="486"/>
                </a:lnTo>
                <a:lnTo>
                  <a:pt x="696" y="492"/>
                </a:lnTo>
                <a:lnTo>
                  <a:pt x="696" y="498"/>
                </a:lnTo>
                <a:lnTo>
                  <a:pt x="696" y="504"/>
                </a:lnTo>
                <a:lnTo>
                  <a:pt x="702" y="504"/>
                </a:lnTo>
                <a:lnTo>
                  <a:pt x="702" y="510"/>
                </a:lnTo>
                <a:lnTo>
                  <a:pt x="702" y="516"/>
                </a:lnTo>
                <a:lnTo>
                  <a:pt x="708" y="516"/>
                </a:lnTo>
                <a:lnTo>
                  <a:pt x="714" y="516"/>
                </a:lnTo>
                <a:lnTo>
                  <a:pt x="720" y="516"/>
                </a:lnTo>
                <a:lnTo>
                  <a:pt x="726" y="516"/>
                </a:lnTo>
                <a:lnTo>
                  <a:pt x="732" y="516"/>
                </a:lnTo>
                <a:lnTo>
                  <a:pt x="732" y="510"/>
                </a:lnTo>
                <a:lnTo>
                  <a:pt x="738" y="510"/>
                </a:lnTo>
                <a:lnTo>
                  <a:pt x="744" y="510"/>
                </a:lnTo>
                <a:lnTo>
                  <a:pt x="744" y="516"/>
                </a:lnTo>
                <a:lnTo>
                  <a:pt x="750" y="516"/>
                </a:lnTo>
                <a:lnTo>
                  <a:pt x="756" y="516"/>
                </a:lnTo>
                <a:lnTo>
                  <a:pt x="756" y="522"/>
                </a:lnTo>
                <a:lnTo>
                  <a:pt x="762" y="522"/>
                </a:lnTo>
                <a:lnTo>
                  <a:pt x="768" y="528"/>
                </a:lnTo>
                <a:lnTo>
                  <a:pt x="774" y="528"/>
                </a:lnTo>
                <a:lnTo>
                  <a:pt x="780" y="528"/>
                </a:lnTo>
                <a:lnTo>
                  <a:pt x="786" y="528"/>
                </a:lnTo>
                <a:lnTo>
                  <a:pt x="786" y="534"/>
                </a:lnTo>
                <a:lnTo>
                  <a:pt x="792" y="534"/>
                </a:lnTo>
                <a:lnTo>
                  <a:pt x="792" y="540"/>
                </a:lnTo>
                <a:lnTo>
                  <a:pt x="798" y="540"/>
                </a:lnTo>
                <a:lnTo>
                  <a:pt x="804" y="540"/>
                </a:lnTo>
                <a:lnTo>
                  <a:pt x="804" y="546"/>
                </a:lnTo>
                <a:lnTo>
                  <a:pt x="798" y="546"/>
                </a:lnTo>
                <a:lnTo>
                  <a:pt x="798" y="552"/>
                </a:lnTo>
                <a:lnTo>
                  <a:pt x="804" y="558"/>
                </a:lnTo>
                <a:lnTo>
                  <a:pt x="804" y="564"/>
                </a:lnTo>
                <a:lnTo>
                  <a:pt x="804" y="570"/>
                </a:lnTo>
                <a:lnTo>
                  <a:pt x="804" y="576"/>
                </a:lnTo>
                <a:lnTo>
                  <a:pt x="810" y="576"/>
                </a:lnTo>
                <a:lnTo>
                  <a:pt x="810" y="582"/>
                </a:lnTo>
                <a:lnTo>
                  <a:pt x="810" y="588"/>
                </a:lnTo>
                <a:lnTo>
                  <a:pt x="810" y="594"/>
                </a:lnTo>
                <a:lnTo>
                  <a:pt x="816" y="594"/>
                </a:lnTo>
                <a:lnTo>
                  <a:pt x="810" y="594"/>
                </a:lnTo>
                <a:lnTo>
                  <a:pt x="810" y="600"/>
                </a:lnTo>
                <a:lnTo>
                  <a:pt x="804" y="600"/>
                </a:lnTo>
                <a:lnTo>
                  <a:pt x="804" y="606"/>
                </a:lnTo>
                <a:lnTo>
                  <a:pt x="810" y="606"/>
                </a:lnTo>
                <a:lnTo>
                  <a:pt x="810" y="612"/>
                </a:lnTo>
                <a:lnTo>
                  <a:pt x="810" y="618"/>
                </a:lnTo>
                <a:lnTo>
                  <a:pt x="810" y="624"/>
                </a:lnTo>
                <a:lnTo>
                  <a:pt x="810" y="630"/>
                </a:lnTo>
                <a:lnTo>
                  <a:pt x="810" y="636"/>
                </a:lnTo>
                <a:lnTo>
                  <a:pt x="810" y="642"/>
                </a:lnTo>
                <a:lnTo>
                  <a:pt x="804" y="642"/>
                </a:lnTo>
                <a:lnTo>
                  <a:pt x="810" y="642"/>
                </a:lnTo>
                <a:lnTo>
                  <a:pt x="810" y="648"/>
                </a:lnTo>
                <a:lnTo>
                  <a:pt x="810" y="654"/>
                </a:lnTo>
                <a:lnTo>
                  <a:pt x="804" y="654"/>
                </a:lnTo>
                <a:lnTo>
                  <a:pt x="798" y="654"/>
                </a:lnTo>
                <a:lnTo>
                  <a:pt x="792" y="654"/>
                </a:lnTo>
                <a:lnTo>
                  <a:pt x="786" y="654"/>
                </a:lnTo>
                <a:lnTo>
                  <a:pt x="780" y="648"/>
                </a:lnTo>
                <a:lnTo>
                  <a:pt x="780" y="654"/>
                </a:lnTo>
                <a:lnTo>
                  <a:pt x="774" y="660"/>
                </a:lnTo>
                <a:lnTo>
                  <a:pt x="768" y="660"/>
                </a:lnTo>
                <a:lnTo>
                  <a:pt x="762" y="666"/>
                </a:lnTo>
                <a:lnTo>
                  <a:pt x="768" y="666"/>
                </a:lnTo>
                <a:lnTo>
                  <a:pt x="762" y="666"/>
                </a:lnTo>
                <a:lnTo>
                  <a:pt x="762" y="672"/>
                </a:lnTo>
                <a:lnTo>
                  <a:pt x="768" y="672"/>
                </a:lnTo>
                <a:lnTo>
                  <a:pt x="768" y="678"/>
                </a:lnTo>
                <a:lnTo>
                  <a:pt x="762" y="678"/>
                </a:lnTo>
                <a:lnTo>
                  <a:pt x="762" y="684"/>
                </a:lnTo>
                <a:lnTo>
                  <a:pt x="768" y="684"/>
                </a:lnTo>
                <a:lnTo>
                  <a:pt x="774" y="684"/>
                </a:lnTo>
                <a:lnTo>
                  <a:pt x="780" y="684"/>
                </a:lnTo>
                <a:lnTo>
                  <a:pt x="780" y="690"/>
                </a:lnTo>
                <a:lnTo>
                  <a:pt x="786" y="690"/>
                </a:lnTo>
                <a:lnTo>
                  <a:pt x="792" y="690"/>
                </a:lnTo>
                <a:lnTo>
                  <a:pt x="792" y="696"/>
                </a:lnTo>
                <a:lnTo>
                  <a:pt x="798" y="696"/>
                </a:lnTo>
                <a:lnTo>
                  <a:pt x="792" y="696"/>
                </a:lnTo>
                <a:lnTo>
                  <a:pt x="798" y="696"/>
                </a:lnTo>
                <a:lnTo>
                  <a:pt x="804" y="696"/>
                </a:lnTo>
                <a:lnTo>
                  <a:pt x="804" y="702"/>
                </a:lnTo>
                <a:lnTo>
                  <a:pt x="804" y="708"/>
                </a:lnTo>
                <a:lnTo>
                  <a:pt x="798" y="708"/>
                </a:lnTo>
                <a:lnTo>
                  <a:pt x="798" y="714"/>
                </a:lnTo>
                <a:lnTo>
                  <a:pt x="804" y="714"/>
                </a:lnTo>
                <a:lnTo>
                  <a:pt x="810" y="714"/>
                </a:lnTo>
                <a:lnTo>
                  <a:pt x="810" y="720"/>
                </a:lnTo>
                <a:lnTo>
                  <a:pt x="804" y="720"/>
                </a:lnTo>
                <a:lnTo>
                  <a:pt x="804" y="714"/>
                </a:lnTo>
                <a:lnTo>
                  <a:pt x="804" y="720"/>
                </a:lnTo>
                <a:lnTo>
                  <a:pt x="798" y="720"/>
                </a:lnTo>
                <a:lnTo>
                  <a:pt x="798" y="726"/>
                </a:lnTo>
                <a:lnTo>
                  <a:pt x="798" y="732"/>
                </a:lnTo>
                <a:lnTo>
                  <a:pt x="798" y="738"/>
                </a:lnTo>
                <a:lnTo>
                  <a:pt x="804" y="738"/>
                </a:lnTo>
                <a:lnTo>
                  <a:pt x="804" y="732"/>
                </a:lnTo>
                <a:lnTo>
                  <a:pt x="810" y="732"/>
                </a:lnTo>
                <a:lnTo>
                  <a:pt x="816" y="732"/>
                </a:lnTo>
                <a:lnTo>
                  <a:pt x="816" y="738"/>
                </a:lnTo>
                <a:lnTo>
                  <a:pt x="816" y="744"/>
                </a:lnTo>
                <a:lnTo>
                  <a:pt x="822" y="744"/>
                </a:lnTo>
                <a:lnTo>
                  <a:pt x="822" y="738"/>
                </a:lnTo>
                <a:lnTo>
                  <a:pt x="822" y="744"/>
                </a:lnTo>
                <a:lnTo>
                  <a:pt x="828" y="744"/>
                </a:lnTo>
                <a:lnTo>
                  <a:pt x="828" y="738"/>
                </a:lnTo>
                <a:lnTo>
                  <a:pt x="822" y="738"/>
                </a:lnTo>
                <a:lnTo>
                  <a:pt x="828" y="738"/>
                </a:lnTo>
                <a:lnTo>
                  <a:pt x="828" y="732"/>
                </a:lnTo>
                <a:lnTo>
                  <a:pt x="834" y="726"/>
                </a:lnTo>
                <a:lnTo>
                  <a:pt x="840" y="726"/>
                </a:lnTo>
                <a:lnTo>
                  <a:pt x="846" y="726"/>
                </a:lnTo>
                <a:lnTo>
                  <a:pt x="846" y="720"/>
                </a:lnTo>
                <a:lnTo>
                  <a:pt x="852" y="720"/>
                </a:lnTo>
                <a:lnTo>
                  <a:pt x="846" y="720"/>
                </a:lnTo>
                <a:lnTo>
                  <a:pt x="852" y="720"/>
                </a:lnTo>
                <a:lnTo>
                  <a:pt x="852" y="714"/>
                </a:lnTo>
                <a:lnTo>
                  <a:pt x="858" y="714"/>
                </a:lnTo>
                <a:lnTo>
                  <a:pt x="864" y="714"/>
                </a:lnTo>
                <a:lnTo>
                  <a:pt x="870" y="714"/>
                </a:lnTo>
                <a:lnTo>
                  <a:pt x="870" y="708"/>
                </a:lnTo>
                <a:lnTo>
                  <a:pt x="876" y="708"/>
                </a:lnTo>
                <a:lnTo>
                  <a:pt x="876" y="714"/>
                </a:lnTo>
                <a:lnTo>
                  <a:pt x="876" y="720"/>
                </a:lnTo>
                <a:lnTo>
                  <a:pt x="882" y="720"/>
                </a:lnTo>
                <a:lnTo>
                  <a:pt x="882" y="726"/>
                </a:lnTo>
                <a:lnTo>
                  <a:pt x="876" y="732"/>
                </a:lnTo>
                <a:lnTo>
                  <a:pt x="876" y="738"/>
                </a:lnTo>
                <a:lnTo>
                  <a:pt x="882" y="738"/>
                </a:lnTo>
                <a:lnTo>
                  <a:pt x="882" y="744"/>
                </a:lnTo>
                <a:lnTo>
                  <a:pt x="882" y="750"/>
                </a:lnTo>
                <a:lnTo>
                  <a:pt x="876" y="750"/>
                </a:lnTo>
                <a:lnTo>
                  <a:pt x="882" y="756"/>
                </a:lnTo>
                <a:lnTo>
                  <a:pt x="888" y="756"/>
                </a:lnTo>
                <a:lnTo>
                  <a:pt x="894" y="756"/>
                </a:lnTo>
                <a:lnTo>
                  <a:pt x="900" y="756"/>
                </a:lnTo>
                <a:lnTo>
                  <a:pt x="900" y="750"/>
                </a:lnTo>
                <a:lnTo>
                  <a:pt x="906" y="750"/>
                </a:lnTo>
                <a:lnTo>
                  <a:pt x="906" y="756"/>
                </a:lnTo>
                <a:lnTo>
                  <a:pt x="906" y="762"/>
                </a:lnTo>
                <a:lnTo>
                  <a:pt x="906" y="768"/>
                </a:lnTo>
                <a:lnTo>
                  <a:pt x="906" y="774"/>
                </a:lnTo>
                <a:lnTo>
                  <a:pt x="906" y="780"/>
                </a:lnTo>
                <a:lnTo>
                  <a:pt x="906" y="786"/>
                </a:lnTo>
                <a:lnTo>
                  <a:pt x="906" y="792"/>
                </a:lnTo>
                <a:lnTo>
                  <a:pt x="912" y="792"/>
                </a:lnTo>
                <a:lnTo>
                  <a:pt x="912" y="786"/>
                </a:lnTo>
                <a:lnTo>
                  <a:pt x="912" y="780"/>
                </a:lnTo>
                <a:lnTo>
                  <a:pt x="918" y="780"/>
                </a:lnTo>
                <a:lnTo>
                  <a:pt x="918" y="774"/>
                </a:lnTo>
                <a:lnTo>
                  <a:pt x="918" y="780"/>
                </a:lnTo>
                <a:lnTo>
                  <a:pt x="918" y="786"/>
                </a:lnTo>
                <a:lnTo>
                  <a:pt x="918" y="780"/>
                </a:lnTo>
                <a:lnTo>
                  <a:pt x="924" y="780"/>
                </a:lnTo>
                <a:lnTo>
                  <a:pt x="924" y="774"/>
                </a:lnTo>
                <a:lnTo>
                  <a:pt x="930" y="768"/>
                </a:lnTo>
                <a:lnTo>
                  <a:pt x="936" y="762"/>
                </a:lnTo>
                <a:lnTo>
                  <a:pt x="936" y="756"/>
                </a:lnTo>
                <a:lnTo>
                  <a:pt x="930" y="756"/>
                </a:lnTo>
                <a:lnTo>
                  <a:pt x="924" y="762"/>
                </a:lnTo>
                <a:lnTo>
                  <a:pt x="918" y="756"/>
                </a:lnTo>
                <a:lnTo>
                  <a:pt x="924" y="756"/>
                </a:lnTo>
                <a:lnTo>
                  <a:pt x="930" y="750"/>
                </a:lnTo>
                <a:lnTo>
                  <a:pt x="930" y="744"/>
                </a:lnTo>
                <a:lnTo>
                  <a:pt x="936" y="744"/>
                </a:lnTo>
                <a:lnTo>
                  <a:pt x="942" y="744"/>
                </a:lnTo>
                <a:lnTo>
                  <a:pt x="942" y="750"/>
                </a:lnTo>
                <a:lnTo>
                  <a:pt x="942" y="756"/>
                </a:lnTo>
                <a:lnTo>
                  <a:pt x="948" y="756"/>
                </a:lnTo>
                <a:lnTo>
                  <a:pt x="948" y="750"/>
                </a:lnTo>
                <a:lnTo>
                  <a:pt x="948" y="744"/>
                </a:lnTo>
                <a:lnTo>
                  <a:pt x="954" y="744"/>
                </a:lnTo>
                <a:lnTo>
                  <a:pt x="960" y="750"/>
                </a:lnTo>
                <a:lnTo>
                  <a:pt x="966" y="750"/>
                </a:lnTo>
                <a:lnTo>
                  <a:pt x="972" y="750"/>
                </a:lnTo>
                <a:lnTo>
                  <a:pt x="972" y="756"/>
                </a:lnTo>
                <a:lnTo>
                  <a:pt x="978" y="756"/>
                </a:lnTo>
                <a:lnTo>
                  <a:pt x="984" y="756"/>
                </a:lnTo>
                <a:lnTo>
                  <a:pt x="990" y="756"/>
                </a:lnTo>
                <a:lnTo>
                  <a:pt x="996" y="756"/>
                </a:lnTo>
                <a:lnTo>
                  <a:pt x="1002" y="756"/>
                </a:lnTo>
                <a:lnTo>
                  <a:pt x="1002" y="762"/>
                </a:lnTo>
                <a:lnTo>
                  <a:pt x="1008" y="768"/>
                </a:lnTo>
                <a:lnTo>
                  <a:pt x="1014" y="768"/>
                </a:lnTo>
                <a:lnTo>
                  <a:pt x="1020" y="768"/>
                </a:lnTo>
                <a:lnTo>
                  <a:pt x="1014" y="768"/>
                </a:lnTo>
                <a:lnTo>
                  <a:pt x="1014" y="774"/>
                </a:lnTo>
                <a:lnTo>
                  <a:pt x="1014" y="780"/>
                </a:lnTo>
                <a:lnTo>
                  <a:pt x="1020" y="780"/>
                </a:lnTo>
                <a:lnTo>
                  <a:pt x="1014" y="780"/>
                </a:lnTo>
                <a:lnTo>
                  <a:pt x="1014" y="786"/>
                </a:lnTo>
                <a:lnTo>
                  <a:pt x="1014" y="792"/>
                </a:lnTo>
                <a:lnTo>
                  <a:pt x="1020" y="792"/>
                </a:lnTo>
                <a:lnTo>
                  <a:pt x="1020" y="798"/>
                </a:lnTo>
                <a:lnTo>
                  <a:pt x="1026" y="798"/>
                </a:lnTo>
                <a:lnTo>
                  <a:pt x="1032" y="798"/>
                </a:lnTo>
                <a:lnTo>
                  <a:pt x="1026" y="792"/>
                </a:lnTo>
                <a:lnTo>
                  <a:pt x="1026" y="786"/>
                </a:lnTo>
                <a:lnTo>
                  <a:pt x="1032" y="786"/>
                </a:lnTo>
                <a:lnTo>
                  <a:pt x="1032" y="792"/>
                </a:lnTo>
                <a:lnTo>
                  <a:pt x="1038" y="792"/>
                </a:lnTo>
                <a:lnTo>
                  <a:pt x="1038" y="798"/>
                </a:lnTo>
                <a:lnTo>
                  <a:pt x="1044" y="798"/>
                </a:lnTo>
                <a:lnTo>
                  <a:pt x="1044" y="792"/>
                </a:lnTo>
                <a:lnTo>
                  <a:pt x="1050" y="792"/>
                </a:lnTo>
                <a:lnTo>
                  <a:pt x="1050" y="798"/>
                </a:lnTo>
                <a:lnTo>
                  <a:pt x="1044" y="798"/>
                </a:lnTo>
                <a:lnTo>
                  <a:pt x="1050" y="798"/>
                </a:lnTo>
                <a:lnTo>
                  <a:pt x="1056" y="798"/>
                </a:lnTo>
                <a:lnTo>
                  <a:pt x="1056" y="792"/>
                </a:lnTo>
                <a:lnTo>
                  <a:pt x="1056" y="798"/>
                </a:lnTo>
                <a:lnTo>
                  <a:pt x="1056" y="804"/>
                </a:lnTo>
                <a:lnTo>
                  <a:pt x="1050" y="810"/>
                </a:lnTo>
                <a:lnTo>
                  <a:pt x="1056" y="810"/>
                </a:lnTo>
                <a:lnTo>
                  <a:pt x="1056" y="816"/>
                </a:lnTo>
                <a:lnTo>
                  <a:pt x="1050" y="816"/>
                </a:lnTo>
                <a:lnTo>
                  <a:pt x="1056" y="816"/>
                </a:lnTo>
                <a:lnTo>
                  <a:pt x="1056" y="810"/>
                </a:lnTo>
                <a:lnTo>
                  <a:pt x="1062" y="810"/>
                </a:lnTo>
                <a:lnTo>
                  <a:pt x="1068" y="810"/>
                </a:lnTo>
                <a:lnTo>
                  <a:pt x="1068" y="804"/>
                </a:lnTo>
                <a:lnTo>
                  <a:pt x="1068" y="810"/>
                </a:lnTo>
                <a:lnTo>
                  <a:pt x="1074" y="810"/>
                </a:lnTo>
                <a:lnTo>
                  <a:pt x="1080" y="810"/>
                </a:lnTo>
                <a:lnTo>
                  <a:pt x="1086" y="810"/>
                </a:lnTo>
                <a:lnTo>
                  <a:pt x="1086" y="804"/>
                </a:lnTo>
                <a:lnTo>
                  <a:pt x="1092" y="804"/>
                </a:lnTo>
                <a:lnTo>
                  <a:pt x="1098" y="804"/>
                </a:lnTo>
                <a:lnTo>
                  <a:pt x="1104" y="810"/>
                </a:lnTo>
                <a:lnTo>
                  <a:pt x="1104" y="816"/>
                </a:lnTo>
                <a:lnTo>
                  <a:pt x="1104" y="822"/>
                </a:lnTo>
                <a:lnTo>
                  <a:pt x="1098" y="828"/>
                </a:lnTo>
                <a:lnTo>
                  <a:pt x="1104" y="828"/>
                </a:lnTo>
                <a:lnTo>
                  <a:pt x="1104" y="834"/>
                </a:lnTo>
                <a:lnTo>
                  <a:pt x="1110" y="834"/>
                </a:lnTo>
                <a:lnTo>
                  <a:pt x="1110" y="828"/>
                </a:lnTo>
                <a:lnTo>
                  <a:pt x="1116" y="828"/>
                </a:lnTo>
                <a:lnTo>
                  <a:pt x="1116" y="834"/>
                </a:lnTo>
                <a:lnTo>
                  <a:pt x="1116" y="840"/>
                </a:lnTo>
                <a:lnTo>
                  <a:pt x="1122" y="840"/>
                </a:lnTo>
                <a:lnTo>
                  <a:pt x="1128" y="840"/>
                </a:lnTo>
                <a:lnTo>
                  <a:pt x="1134" y="840"/>
                </a:lnTo>
                <a:lnTo>
                  <a:pt x="1134" y="834"/>
                </a:lnTo>
                <a:lnTo>
                  <a:pt x="1140" y="834"/>
                </a:lnTo>
                <a:lnTo>
                  <a:pt x="1146" y="840"/>
                </a:lnTo>
                <a:lnTo>
                  <a:pt x="1152" y="840"/>
                </a:lnTo>
                <a:lnTo>
                  <a:pt x="1158" y="840"/>
                </a:lnTo>
                <a:lnTo>
                  <a:pt x="1158" y="846"/>
                </a:lnTo>
                <a:lnTo>
                  <a:pt x="1158" y="852"/>
                </a:lnTo>
                <a:lnTo>
                  <a:pt x="1164" y="852"/>
                </a:lnTo>
                <a:lnTo>
                  <a:pt x="1170" y="852"/>
                </a:lnTo>
                <a:lnTo>
                  <a:pt x="1176" y="852"/>
                </a:lnTo>
                <a:lnTo>
                  <a:pt x="1182" y="852"/>
                </a:lnTo>
                <a:lnTo>
                  <a:pt x="1182" y="846"/>
                </a:lnTo>
                <a:lnTo>
                  <a:pt x="1182" y="852"/>
                </a:lnTo>
                <a:lnTo>
                  <a:pt x="1188" y="852"/>
                </a:lnTo>
                <a:lnTo>
                  <a:pt x="1194" y="852"/>
                </a:lnTo>
                <a:lnTo>
                  <a:pt x="1194" y="846"/>
                </a:lnTo>
                <a:lnTo>
                  <a:pt x="1200" y="840"/>
                </a:lnTo>
                <a:lnTo>
                  <a:pt x="1206" y="840"/>
                </a:lnTo>
                <a:lnTo>
                  <a:pt x="1206" y="834"/>
                </a:lnTo>
                <a:lnTo>
                  <a:pt x="1212" y="834"/>
                </a:lnTo>
                <a:lnTo>
                  <a:pt x="1212" y="828"/>
                </a:lnTo>
                <a:lnTo>
                  <a:pt x="1218" y="822"/>
                </a:lnTo>
                <a:lnTo>
                  <a:pt x="1224" y="816"/>
                </a:lnTo>
                <a:lnTo>
                  <a:pt x="1224" y="810"/>
                </a:lnTo>
                <a:lnTo>
                  <a:pt x="1224" y="804"/>
                </a:lnTo>
                <a:lnTo>
                  <a:pt x="1218" y="804"/>
                </a:lnTo>
                <a:lnTo>
                  <a:pt x="1224" y="804"/>
                </a:lnTo>
                <a:lnTo>
                  <a:pt x="1224" y="798"/>
                </a:lnTo>
                <a:lnTo>
                  <a:pt x="1230" y="798"/>
                </a:lnTo>
                <a:lnTo>
                  <a:pt x="1236" y="804"/>
                </a:lnTo>
                <a:lnTo>
                  <a:pt x="1242" y="804"/>
                </a:lnTo>
                <a:lnTo>
                  <a:pt x="1242" y="810"/>
                </a:lnTo>
                <a:lnTo>
                  <a:pt x="1242" y="816"/>
                </a:lnTo>
                <a:lnTo>
                  <a:pt x="1242" y="822"/>
                </a:lnTo>
                <a:lnTo>
                  <a:pt x="1242" y="828"/>
                </a:lnTo>
                <a:lnTo>
                  <a:pt x="1242" y="834"/>
                </a:lnTo>
                <a:lnTo>
                  <a:pt x="1248" y="840"/>
                </a:lnTo>
                <a:lnTo>
                  <a:pt x="1248" y="846"/>
                </a:lnTo>
                <a:lnTo>
                  <a:pt x="1248" y="852"/>
                </a:lnTo>
                <a:lnTo>
                  <a:pt x="1254" y="852"/>
                </a:lnTo>
                <a:lnTo>
                  <a:pt x="1260" y="852"/>
                </a:lnTo>
                <a:lnTo>
                  <a:pt x="1266" y="852"/>
                </a:lnTo>
                <a:lnTo>
                  <a:pt x="1266" y="846"/>
                </a:lnTo>
                <a:lnTo>
                  <a:pt x="1272" y="846"/>
                </a:lnTo>
                <a:lnTo>
                  <a:pt x="1272" y="840"/>
                </a:lnTo>
                <a:lnTo>
                  <a:pt x="1272" y="846"/>
                </a:lnTo>
                <a:lnTo>
                  <a:pt x="1278" y="846"/>
                </a:lnTo>
                <a:lnTo>
                  <a:pt x="1284" y="846"/>
                </a:lnTo>
                <a:lnTo>
                  <a:pt x="1284" y="840"/>
                </a:lnTo>
                <a:lnTo>
                  <a:pt x="1284" y="834"/>
                </a:lnTo>
                <a:lnTo>
                  <a:pt x="1290" y="834"/>
                </a:lnTo>
                <a:lnTo>
                  <a:pt x="1290" y="828"/>
                </a:lnTo>
                <a:lnTo>
                  <a:pt x="1296" y="828"/>
                </a:lnTo>
                <a:lnTo>
                  <a:pt x="1290" y="822"/>
                </a:lnTo>
                <a:lnTo>
                  <a:pt x="1296" y="822"/>
                </a:lnTo>
                <a:lnTo>
                  <a:pt x="1302" y="822"/>
                </a:lnTo>
                <a:lnTo>
                  <a:pt x="1308" y="822"/>
                </a:lnTo>
                <a:lnTo>
                  <a:pt x="1314" y="822"/>
                </a:lnTo>
                <a:lnTo>
                  <a:pt x="1314" y="828"/>
                </a:lnTo>
                <a:lnTo>
                  <a:pt x="1314" y="822"/>
                </a:lnTo>
                <a:lnTo>
                  <a:pt x="1314" y="828"/>
                </a:lnTo>
                <a:lnTo>
                  <a:pt x="1320" y="828"/>
                </a:lnTo>
                <a:lnTo>
                  <a:pt x="1320" y="834"/>
                </a:lnTo>
                <a:lnTo>
                  <a:pt x="1320" y="840"/>
                </a:lnTo>
                <a:lnTo>
                  <a:pt x="1320" y="834"/>
                </a:lnTo>
                <a:lnTo>
                  <a:pt x="1326" y="834"/>
                </a:lnTo>
                <a:lnTo>
                  <a:pt x="1332" y="834"/>
                </a:lnTo>
                <a:lnTo>
                  <a:pt x="1332" y="840"/>
                </a:lnTo>
                <a:lnTo>
                  <a:pt x="1332" y="846"/>
                </a:lnTo>
                <a:lnTo>
                  <a:pt x="1332" y="852"/>
                </a:lnTo>
                <a:lnTo>
                  <a:pt x="1338" y="852"/>
                </a:lnTo>
                <a:lnTo>
                  <a:pt x="1338" y="846"/>
                </a:lnTo>
                <a:lnTo>
                  <a:pt x="1344" y="846"/>
                </a:lnTo>
                <a:lnTo>
                  <a:pt x="1350" y="846"/>
                </a:lnTo>
                <a:lnTo>
                  <a:pt x="1356" y="846"/>
                </a:lnTo>
                <a:lnTo>
                  <a:pt x="1356" y="852"/>
                </a:lnTo>
                <a:lnTo>
                  <a:pt x="1362" y="852"/>
                </a:lnTo>
                <a:lnTo>
                  <a:pt x="1368" y="852"/>
                </a:lnTo>
                <a:lnTo>
                  <a:pt x="1374" y="852"/>
                </a:lnTo>
                <a:lnTo>
                  <a:pt x="1380" y="858"/>
                </a:lnTo>
                <a:lnTo>
                  <a:pt x="1380" y="864"/>
                </a:lnTo>
                <a:lnTo>
                  <a:pt x="1380" y="870"/>
                </a:lnTo>
                <a:lnTo>
                  <a:pt x="1380" y="876"/>
                </a:lnTo>
                <a:lnTo>
                  <a:pt x="1386" y="876"/>
                </a:lnTo>
                <a:lnTo>
                  <a:pt x="1386" y="870"/>
                </a:lnTo>
                <a:lnTo>
                  <a:pt x="1392" y="870"/>
                </a:lnTo>
                <a:lnTo>
                  <a:pt x="1392" y="876"/>
                </a:lnTo>
                <a:lnTo>
                  <a:pt x="1392" y="870"/>
                </a:lnTo>
                <a:lnTo>
                  <a:pt x="1398" y="870"/>
                </a:lnTo>
                <a:lnTo>
                  <a:pt x="1398" y="876"/>
                </a:lnTo>
                <a:lnTo>
                  <a:pt x="1398" y="882"/>
                </a:lnTo>
                <a:lnTo>
                  <a:pt x="1398" y="888"/>
                </a:lnTo>
                <a:lnTo>
                  <a:pt x="1398" y="894"/>
                </a:lnTo>
                <a:lnTo>
                  <a:pt x="1398" y="888"/>
                </a:lnTo>
                <a:lnTo>
                  <a:pt x="1404" y="888"/>
                </a:lnTo>
                <a:lnTo>
                  <a:pt x="1410" y="888"/>
                </a:lnTo>
                <a:lnTo>
                  <a:pt x="1416" y="888"/>
                </a:lnTo>
                <a:lnTo>
                  <a:pt x="1416" y="894"/>
                </a:lnTo>
                <a:lnTo>
                  <a:pt x="1422" y="894"/>
                </a:lnTo>
                <a:lnTo>
                  <a:pt x="1422" y="900"/>
                </a:lnTo>
                <a:lnTo>
                  <a:pt x="1422" y="906"/>
                </a:lnTo>
                <a:lnTo>
                  <a:pt x="1428" y="906"/>
                </a:lnTo>
                <a:lnTo>
                  <a:pt x="1428" y="912"/>
                </a:lnTo>
                <a:lnTo>
                  <a:pt x="1434" y="912"/>
                </a:lnTo>
                <a:lnTo>
                  <a:pt x="1434" y="918"/>
                </a:lnTo>
                <a:lnTo>
                  <a:pt x="1440" y="918"/>
                </a:lnTo>
                <a:lnTo>
                  <a:pt x="1440" y="924"/>
                </a:lnTo>
                <a:lnTo>
                  <a:pt x="1440" y="930"/>
                </a:lnTo>
                <a:lnTo>
                  <a:pt x="1440" y="936"/>
                </a:lnTo>
                <a:lnTo>
                  <a:pt x="1440" y="942"/>
                </a:lnTo>
                <a:lnTo>
                  <a:pt x="1440" y="936"/>
                </a:lnTo>
                <a:lnTo>
                  <a:pt x="1446" y="936"/>
                </a:lnTo>
                <a:lnTo>
                  <a:pt x="1452" y="936"/>
                </a:lnTo>
                <a:lnTo>
                  <a:pt x="1452" y="930"/>
                </a:lnTo>
                <a:lnTo>
                  <a:pt x="1458" y="930"/>
                </a:lnTo>
                <a:lnTo>
                  <a:pt x="1458" y="924"/>
                </a:lnTo>
                <a:lnTo>
                  <a:pt x="1464" y="924"/>
                </a:lnTo>
                <a:lnTo>
                  <a:pt x="1464" y="918"/>
                </a:lnTo>
                <a:lnTo>
                  <a:pt x="1470" y="918"/>
                </a:lnTo>
                <a:lnTo>
                  <a:pt x="1470" y="924"/>
                </a:lnTo>
                <a:lnTo>
                  <a:pt x="1476" y="924"/>
                </a:lnTo>
                <a:lnTo>
                  <a:pt x="1482" y="924"/>
                </a:lnTo>
                <a:lnTo>
                  <a:pt x="1488" y="924"/>
                </a:lnTo>
                <a:lnTo>
                  <a:pt x="1488" y="918"/>
                </a:lnTo>
                <a:lnTo>
                  <a:pt x="1494" y="918"/>
                </a:lnTo>
                <a:lnTo>
                  <a:pt x="1488" y="918"/>
                </a:lnTo>
                <a:lnTo>
                  <a:pt x="1494" y="918"/>
                </a:lnTo>
                <a:lnTo>
                  <a:pt x="1494" y="912"/>
                </a:lnTo>
                <a:lnTo>
                  <a:pt x="1500" y="912"/>
                </a:lnTo>
                <a:lnTo>
                  <a:pt x="1500" y="906"/>
                </a:lnTo>
                <a:lnTo>
                  <a:pt x="1506" y="912"/>
                </a:lnTo>
                <a:lnTo>
                  <a:pt x="1506" y="906"/>
                </a:lnTo>
                <a:lnTo>
                  <a:pt x="1512" y="906"/>
                </a:lnTo>
                <a:lnTo>
                  <a:pt x="1518" y="906"/>
                </a:lnTo>
                <a:lnTo>
                  <a:pt x="1518" y="900"/>
                </a:lnTo>
                <a:lnTo>
                  <a:pt x="1512" y="894"/>
                </a:lnTo>
                <a:lnTo>
                  <a:pt x="1518" y="894"/>
                </a:lnTo>
                <a:lnTo>
                  <a:pt x="1524" y="894"/>
                </a:lnTo>
                <a:lnTo>
                  <a:pt x="1518" y="888"/>
                </a:lnTo>
                <a:lnTo>
                  <a:pt x="1518" y="882"/>
                </a:lnTo>
                <a:lnTo>
                  <a:pt x="1518" y="876"/>
                </a:lnTo>
                <a:lnTo>
                  <a:pt x="1524" y="876"/>
                </a:lnTo>
                <a:lnTo>
                  <a:pt x="1524" y="882"/>
                </a:lnTo>
                <a:lnTo>
                  <a:pt x="1530" y="882"/>
                </a:lnTo>
                <a:lnTo>
                  <a:pt x="1530" y="888"/>
                </a:lnTo>
                <a:lnTo>
                  <a:pt x="1536" y="888"/>
                </a:lnTo>
                <a:lnTo>
                  <a:pt x="1542" y="888"/>
                </a:lnTo>
                <a:lnTo>
                  <a:pt x="1542" y="894"/>
                </a:lnTo>
                <a:lnTo>
                  <a:pt x="1548" y="894"/>
                </a:lnTo>
                <a:lnTo>
                  <a:pt x="1542" y="900"/>
                </a:lnTo>
                <a:lnTo>
                  <a:pt x="1548" y="900"/>
                </a:lnTo>
                <a:lnTo>
                  <a:pt x="1542" y="900"/>
                </a:lnTo>
                <a:lnTo>
                  <a:pt x="1542" y="906"/>
                </a:lnTo>
                <a:lnTo>
                  <a:pt x="1548" y="906"/>
                </a:lnTo>
                <a:lnTo>
                  <a:pt x="1554" y="906"/>
                </a:lnTo>
                <a:lnTo>
                  <a:pt x="1560" y="906"/>
                </a:lnTo>
                <a:lnTo>
                  <a:pt x="1560" y="912"/>
                </a:lnTo>
                <a:lnTo>
                  <a:pt x="1560" y="918"/>
                </a:lnTo>
                <a:lnTo>
                  <a:pt x="1566" y="918"/>
                </a:lnTo>
                <a:lnTo>
                  <a:pt x="1572" y="918"/>
                </a:lnTo>
                <a:lnTo>
                  <a:pt x="1572" y="924"/>
                </a:lnTo>
                <a:lnTo>
                  <a:pt x="1578" y="924"/>
                </a:lnTo>
                <a:lnTo>
                  <a:pt x="1584" y="924"/>
                </a:lnTo>
                <a:lnTo>
                  <a:pt x="1584" y="930"/>
                </a:lnTo>
                <a:lnTo>
                  <a:pt x="1578" y="930"/>
                </a:lnTo>
                <a:lnTo>
                  <a:pt x="1578" y="936"/>
                </a:lnTo>
                <a:lnTo>
                  <a:pt x="1584" y="942"/>
                </a:lnTo>
                <a:lnTo>
                  <a:pt x="1584" y="948"/>
                </a:lnTo>
                <a:lnTo>
                  <a:pt x="1584" y="954"/>
                </a:lnTo>
                <a:lnTo>
                  <a:pt x="1584" y="960"/>
                </a:lnTo>
                <a:lnTo>
                  <a:pt x="1584" y="966"/>
                </a:lnTo>
                <a:lnTo>
                  <a:pt x="1578" y="966"/>
                </a:lnTo>
                <a:lnTo>
                  <a:pt x="1578" y="972"/>
                </a:lnTo>
                <a:lnTo>
                  <a:pt x="1584" y="972"/>
                </a:lnTo>
                <a:lnTo>
                  <a:pt x="1584" y="966"/>
                </a:lnTo>
                <a:lnTo>
                  <a:pt x="1590" y="966"/>
                </a:lnTo>
                <a:lnTo>
                  <a:pt x="1596" y="966"/>
                </a:lnTo>
                <a:lnTo>
                  <a:pt x="1602" y="960"/>
                </a:lnTo>
                <a:lnTo>
                  <a:pt x="1602" y="966"/>
                </a:lnTo>
                <a:lnTo>
                  <a:pt x="1608" y="966"/>
                </a:lnTo>
                <a:lnTo>
                  <a:pt x="1614" y="966"/>
                </a:lnTo>
                <a:lnTo>
                  <a:pt x="1614" y="972"/>
                </a:lnTo>
                <a:lnTo>
                  <a:pt x="1614" y="978"/>
                </a:lnTo>
                <a:lnTo>
                  <a:pt x="1620" y="978"/>
                </a:lnTo>
                <a:lnTo>
                  <a:pt x="1620" y="984"/>
                </a:lnTo>
                <a:lnTo>
                  <a:pt x="1614" y="984"/>
                </a:lnTo>
                <a:lnTo>
                  <a:pt x="1614" y="990"/>
                </a:lnTo>
                <a:lnTo>
                  <a:pt x="1608" y="990"/>
                </a:lnTo>
                <a:lnTo>
                  <a:pt x="1608" y="996"/>
                </a:lnTo>
                <a:lnTo>
                  <a:pt x="1602" y="996"/>
                </a:lnTo>
                <a:lnTo>
                  <a:pt x="1602" y="1002"/>
                </a:lnTo>
                <a:lnTo>
                  <a:pt x="1608" y="1002"/>
                </a:lnTo>
                <a:lnTo>
                  <a:pt x="1608" y="1008"/>
                </a:lnTo>
                <a:lnTo>
                  <a:pt x="1614" y="1008"/>
                </a:lnTo>
                <a:lnTo>
                  <a:pt x="1614" y="1014"/>
                </a:lnTo>
                <a:lnTo>
                  <a:pt x="1614" y="1020"/>
                </a:lnTo>
                <a:lnTo>
                  <a:pt x="1608" y="1020"/>
                </a:lnTo>
                <a:lnTo>
                  <a:pt x="1602" y="1020"/>
                </a:lnTo>
                <a:lnTo>
                  <a:pt x="1602" y="1014"/>
                </a:lnTo>
                <a:lnTo>
                  <a:pt x="1596" y="1014"/>
                </a:lnTo>
                <a:lnTo>
                  <a:pt x="1590" y="1014"/>
                </a:lnTo>
                <a:lnTo>
                  <a:pt x="1584" y="1014"/>
                </a:lnTo>
                <a:lnTo>
                  <a:pt x="1578" y="1014"/>
                </a:lnTo>
                <a:lnTo>
                  <a:pt x="1572" y="1014"/>
                </a:lnTo>
                <a:lnTo>
                  <a:pt x="1572" y="1020"/>
                </a:lnTo>
                <a:lnTo>
                  <a:pt x="1566" y="1020"/>
                </a:lnTo>
                <a:lnTo>
                  <a:pt x="1560" y="1020"/>
                </a:lnTo>
                <a:lnTo>
                  <a:pt x="1560" y="1026"/>
                </a:lnTo>
                <a:lnTo>
                  <a:pt x="1554" y="1026"/>
                </a:lnTo>
                <a:lnTo>
                  <a:pt x="1554" y="1032"/>
                </a:lnTo>
                <a:lnTo>
                  <a:pt x="1548" y="1032"/>
                </a:lnTo>
                <a:lnTo>
                  <a:pt x="1542" y="1032"/>
                </a:lnTo>
                <a:lnTo>
                  <a:pt x="1536" y="1032"/>
                </a:lnTo>
                <a:lnTo>
                  <a:pt x="1536" y="1038"/>
                </a:lnTo>
                <a:lnTo>
                  <a:pt x="1536" y="1044"/>
                </a:lnTo>
                <a:lnTo>
                  <a:pt x="1536" y="1050"/>
                </a:lnTo>
                <a:lnTo>
                  <a:pt x="1536" y="1056"/>
                </a:lnTo>
                <a:lnTo>
                  <a:pt x="1536" y="1062"/>
                </a:lnTo>
                <a:lnTo>
                  <a:pt x="1536" y="1068"/>
                </a:lnTo>
                <a:lnTo>
                  <a:pt x="1530" y="1068"/>
                </a:lnTo>
                <a:lnTo>
                  <a:pt x="1530" y="1074"/>
                </a:lnTo>
                <a:lnTo>
                  <a:pt x="1530" y="1080"/>
                </a:lnTo>
                <a:lnTo>
                  <a:pt x="1536" y="1086"/>
                </a:lnTo>
                <a:lnTo>
                  <a:pt x="1536" y="1092"/>
                </a:lnTo>
                <a:lnTo>
                  <a:pt x="1542" y="1092"/>
                </a:lnTo>
                <a:lnTo>
                  <a:pt x="1548" y="1092"/>
                </a:lnTo>
                <a:lnTo>
                  <a:pt x="1548" y="1086"/>
                </a:lnTo>
                <a:lnTo>
                  <a:pt x="1554" y="1086"/>
                </a:lnTo>
                <a:lnTo>
                  <a:pt x="1554" y="1092"/>
                </a:lnTo>
                <a:lnTo>
                  <a:pt x="1554" y="1098"/>
                </a:lnTo>
                <a:lnTo>
                  <a:pt x="1554" y="1104"/>
                </a:lnTo>
                <a:lnTo>
                  <a:pt x="1554" y="1110"/>
                </a:lnTo>
                <a:lnTo>
                  <a:pt x="1548" y="1110"/>
                </a:lnTo>
                <a:lnTo>
                  <a:pt x="1548" y="1116"/>
                </a:lnTo>
                <a:lnTo>
                  <a:pt x="1548" y="1122"/>
                </a:lnTo>
                <a:lnTo>
                  <a:pt x="1548" y="1128"/>
                </a:lnTo>
                <a:lnTo>
                  <a:pt x="1542" y="1128"/>
                </a:lnTo>
                <a:lnTo>
                  <a:pt x="1536" y="1128"/>
                </a:lnTo>
                <a:lnTo>
                  <a:pt x="1530" y="1128"/>
                </a:lnTo>
                <a:lnTo>
                  <a:pt x="1524" y="1128"/>
                </a:lnTo>
                <a:lnTo>
                  <a:pt x="1518" y="1128"/>
                </a:lnTo>
                <a:lnTo>
                  <a:pt x="1512" y="1128"/>
                </a:lnTo>
                <a:lnTo>
                  <a:pt x="1512" y="1134"/>
                </a:lnTo>
                <a:lnTo>
                  <a:pt x="1506" y="1134"/>
                </a:lnTo>
                <a:lnTo>
                  <a:pt x="1506" y="1140"/>
                </a:lnTo>
                <a:lnTo>
                  <a:pt x="1500" y="1146"/>
                </a:lnTo>
                <a:lnTo>
                  <a:pt x="1494" y="1146"/>
                </a:lnTo>
                <a:lnTo>
                  <a:pt x="1494" y="1140"/>
                </a:lnTo>
                <a:lnTo>
                  <a:pt x="1494" y="1146"/>
                </a:lnTo>
                <a:lnTo>
                  <a:pt x="1488" y="1146"/>
                </a:lnTo>
                <a:lnTo>
                  <a:pt x="1488" y="1152"/>
                </a:lnTo>
                <a:lnTo>
                  <a:pt x="1482" y="1152"/>
                </a:lnTo>
                <a:lnTo>
                  <a:pt x="1476" y="1152"/>
                </a:lnTo>
                <a:lnTo>
                  <a:pt x="1470" y="1152"/>
                </a:lnTo>
                <a:lnTo>
                  <a:pt x="1470" y="1146"/>
                </a:lnTo>
                <a:lnTo>
                  <a:pt x="1464" y="1146"/>
                </a:lnTo>
                <a:lnTo>
                  <a:pt x="1458" y="1140"/>
                </a:lnTo>
                <a:lnTo>
                  <a:pt x="1458" y="1146"/>
                </a:lnTo>
                <a:lnTo>
                  <a:pt x="1452" y="1146"/>
                </a:lnTo>
                <a:lnTo>
                  <a:pt x="1452" y="1152"/>
                </a:lnTo>
                <a:lnTo>
                  <a:pt x="1446" y="1152"/>
                </a:lnTo>
                <a:lnTo>
                  <a:pt x="1446" y="1158"/>
                </a:lnTo>
                <a:lnTo>
                  <a:pt x="1446" y="1164"/>
                </a:lnTo>
                <a:lnTo>
                  <a:pt x="1446" y="1170"/>
                </a:lnTo>
                <a:lnTo>
                  <a:pt x="1446" y="1176"/>
                </a:lnTo>
                <a:lnTo>
                  <a:pt x="1446" y="1182"/>
                </a:lnTo>
                <a:lnTo>
                  <a:pt x="1452" y="1182"/>
                </a:lnTo>
                <a:lnTo>
                  <a:pt x="1452" y="1188"/>
                </a:lnTo>
                <a:lnTo>
                  <a:pt x="1458" y="1188"/>
                </a:lnTo>
                <a:lnTo>
                  <a:pt x="1458" y="1194"/>
                </a:lnTo>
                <a:lnTo>
                  <a:pt x="1464" y="1194"/>
                </a:lnTo>
                <a:lnTo>
                  <a:pt x="1464" y="1200"/>
                </a:lnTo>
                <a:lnTo>
                  <a:pt x="1458" y="1200"/>
                </a:lnTo>
                <a:lnTo>
                  <a:pt x="1458" y="1206"/>
                </a:lnTo>
                <a:lnTo>
                  <a:pt x="1458" y="1212"/>
                </a:lnTo>
                <a:lnTo>
                  <a:pt x="1464" y="1212"/>
                </a:lnTo>
                <a:lnTo>
                  <a:pt x="1464" y="1218"/>
                </a:lnTo>
                <a:lnTo>
                  <a:pt x="1464" y="1224"/>
                </a:lnTo>
                <a:lnTo>
                  <a:pt x="1458" y="1224"/>
                </a:lnTo>
                <a:lnTo>
                  <a:pt x="1458" y="1230"/>
                </a:lnTo>
                <a:lnTo>
                  <a:pt x="1464" y="1236"/>
                </a:lnTo>
                <a:lnTo>
                  <a:pt x="1464" y="1230"/>
                </a:lnTo>
                <a:lnTo>
                  <a:pt x="1470" y="1230"/>
                </a:lnTo>
                <a:lnTo>
                  <a:pt x="1470" y="1236"/>
                </a:lnTo>
                <a:lnTo>
                  <a:pt x="1470" y="1242"/>
                </a:lnTo>
                <a:lnTo>
                  <a:pt x="1476" y="1242"/>
                </a:lnTo>
                <a:lnTo>
                  <a:pt x="1476" y="1248"/>
                </a:lnTo>
                <a:lnTo>
                  <a:pt x="1476" y="1254"/>
                </a:lnTo>
                <a:lnTo>
                  <a:pt x="1482" y="1254"/>
                </a:lnTo>
                <a:lnTo>
                  <a:pt x="1488" y="1254"/>
                </a:lnTo>
                <a:lnTo>
                  <a:pt x="1488" y="1260"/>
                </a:lnTo>
                <a:lnTo>
                  <a:pt x="1482" y="1260"/>
                </a:lnTo>
                <a:lnTo>
                  <a:pt x="1482" y="1266"/>
                </a:lnTo>
                <a:lnTo>
                  <a:pt x="1476" y="1272"/>
                </a:lnTo>
                <a:lnTo>
                  <a:pt x="1476" y="1278"/>
                </a:lnTo>
                <a:lnTo>
                  <a:pt x="1476" y="1284"/>
                </a:lnTo>
                <a:lnTo>
                  <a:pt x="1470" y="1290"/>
                </a:lnTo>
                <a:lnTo>
                  <a:pt x="1470" y="1296"/>
                </a:lnTo>
                <a:lnTo>
                  <a:pt x="1470" y="1302"/>
                </a:lnTo>
                <a:lnTo>
                  <a:pt x="1464" y="1302"/>
                </a:lnTo>
                <a:lnTo>
                  <a:pt x="1458" y="1302"/>
                </a:lnTo>
                <a:lnTo>
                  <a:pt x="1458" y="1308"/>
                </a:lnTo>
                <a:lnTo>
                  <a:pt x="1458" y="1314"/>
                </a:lnTo>
                <a:lnTo>
                  <a:pt x="1458" y="1320"/>
                </a:lnTo>
                <a:lnTo>
                  <a:pt x="1458" y="1326"/>
                </a:lnTo>
                <a:lnTo>
                  <a:pt x="1458" y="1332"/>
                </a:lnTo>
                <a:lnTo>
                  <a:pt x="1458" y="1338"/>
                </a:lnTo>
                <a:lnTo>
                  <a:pt x="1458" y="1344"/>
                </a:lnTo>
                <a:lnTo>
                  <a:pt x="1452" y="1344"/>
                </a:lnTo>
                <a:lnTo>
                  <a:pt x="1446" y="1344"/>
                </a:lnTo>
                <a:lnTo>
                  <a:pt x="1446" y="1338"/>
                </a:lnTo>
                <a:lnTo>
                  <a:pt x="1446" y="1344"/>
                </a:lnTo>
                <a:lnTo>
                  <a:pt x="1440" y="1344"/>
                </a:lnTo>
                <a:lnTo>
                  <a:pt x="1440" y="1338"/>
                </a:lnTo>
                <a:lnTo>
                  <a:pt x="1434" y="1338"/>
                </a:lnTo>
                <a:lnTo>
                  <a:pt x="1428" y="1338"/>
                </a:lnTo>
                <a:lnTo>
                  <a:pt x="1422" y="1338"/>
                </a:lnTo>
                <a:lnTo>
                  <a:pt x="1416" y="1338"/>
                </a:lnTo>
                <a:lnTo>
                  <a:pt x="1416" y="1332"/>
                </a:lnTo>
                <a:lnTo>
                  <a:pt x="1410" y="1332"/>
                </a:lnTo>
                <a:lnTo>
                  <a:pt x="1410" y="1326"/>
                </a:lnTo>
                <a:lnTo>
                  <a:pt x="1404" y="1332"/>
                </a:lnTo>
                <a:lnTo>
                  <a:pt x="1398" y="1332"/>
                </a:lnTo>
                <a:lnTo>
                  <a:pt x="1392" y="1332"/>
                </a:lnTo>
                <a:lnTo>
                  <a:pt x="1386" y="1332"/>
                </a:lnTo>
                <a:lnTo>
                  <a:pt x="1386" y="1338"/>
                </a:lnTo>
                <a:lnTo>
                  <a:pt x="1380" y="1338"/>
                </a:lnTo>
                <a:lnTo>
                  <a:pt x="1380" y="1344"/>
                </a:lnTo>
                <a:lnTo>
                  <a:pt x="1374" y="1344"/>
                </a:lnTo>
                <a:lnTo>
                  <a:pt x="1368" y="1344"/>
                </a:lnTo>
                <a:lnTo>
                  <a:pt x="1368" y="1338"/>
                </a:lnTo>
                <a:lnTo>
                  <a:pt x="1368" y="1332"/>
                </a:lnTo>
                <a:lnTo>
                  <a:pt x="1362" y="1326"/>
                </a:lnTo>
                <a:lnTo>
                  <a:pt x="1362" y="1332"/>
                </a:lnTo>
                <a:lnTo>
                  <a:pt x="1356" y="1332"/>
                </a:lnTo>
                <a:lnTo>
                  <a:pt x="1350" y="1332"/>
                </a:lnTo>
                <a:lnTo>
                  <a:pt x="1350" y="1338"/>
                </a:lnTo>
                <a:lnTo>
                  <a:pt x="1344" y="1344"/>
                </a:lnTo>
                <a:lnTo>
                  <a:pt x="1344" y="1350"/>
                </a:lnTo>
                <a:lnTo>
                  <a:pt x="1350" y="1356"/>
                </a:lnTo>
                <a:lnTo>
                  <a:pt x="1344" y="1356"/>
                </a:lnTo>
                <a:lnTo>
                  <a:pt x="1338" y="1356"/>
                </a:lnTo>
                <a:lnTo>
                  <a:pt x="1338" y="1350"/>
                </a:lnTo>
                <a:lnTo>
                  <a:pt x="1338" y="1356"/>
                </a:lnTo>
                <a:lnTo>
                  <a:pt x="1338" y="1362"/>
                </a:lnTo>
                <a:lnTo>
                  <a:pt x="1338" y="1368"/>
                </a:lnTo>
                <a:lnTo>
                  <a:pt x="1338" y="1374"/>
                </a:lnTo>
                <a:lnTo>
                  <a:pt x="1338" y="1380"/>
                </a:lnTo>
                <a:lnTo>
                  <a:pt x="1332" y="1380"/>
                </a:lnTo>
                <a:lnTo>
                  <a:pt x="1326" y="1380"/>
                </a:lnTo>
                <a:lnTo>
                  <a:pt x="1326" y="1386"/>
                </a:lnTo>
                <a:lnTo>
                  <a:pt x="1326" y="1392"/>
                </a:lnTo>
                <a:lnTo>
                  <a:pt x="1332" y="1392"/>
                </a:lnTo>
                <a:lnTo>
                  <a:pt x="1332" y="1398"/>
                </a:lnTo>
                <a:lnTo>
                  <a:pt x="1338" y="1398"/>
                </a:lnTo>
                <a:lnTo>
                  <a:pt x="1338" y="1404"/>
                </a:lnTo>
                <a:lnTo>
                  <a:pt x="1338" y="1410"/>
                </a:lnTo>
                <a:lnTo>
                  <a:pt x="1332" y="1410"/>
                </a:lnTo>
                <a:lnTo>
                  <a:pt x="1332" y="1416"/>
                </a:lnTo>
                <a:lnTo>
                  <a:pt x="1326" y="1416"/>
                </a:lnTo>
                <a:lnTo>
                  <a:pt x="1332" y="1422"/>
                </a:lnTo>
                <a:lnTo>
                  <a:pt x="1332" y="1428"/>
                </a:lnTo>
                <a:lnTo>
                  <a:pt x="1332" y="1434"/>
                </a:lnTo>
                <a:lnTo>
                  <a:pt x="1326" y="1434"/>
                </a:lnTo>
                <a:lnTo>
                  <a:pt x="1326" y="1440"/>
                </a:lnTo>
                <a:lnTo>
                  <a:pt x="1332" y="1440"/>
                </a:lnTo>
                <a:lnTo>
                  <a:pt x="1332" y="1446"/>
                </a:lnTo>
                <a:lnTo>
                  <a:pt x="1332" y="1452"/>
                </a:lnTo>
                <a:lnTo>
                  <a:pt x="1326" y="1452"/>
                </a:lnTo>
                <a:lnTo>
                  <a:pt x="1320" y="1452"/>
                </a:lnTo>
                <a:lnTo>
                  <a:pt x="1326" y="1452"/>
                </a:lnTo>
                <a:lnTo>
                  <a:pt x="1326" y="1458"/>
                </a:lnTo>
                <a:lnTo>
                  <a:pt x="1320" y="1458"/>
                </a:lnTo>
                <a:lnTo>
                  <a:pt x="1320" y="1464"/>
                </a:lnTo>
                <a:lnTo>
                  <a:pt x="1320" y="1470"/>
                </a:lnTo>
                <a:lnTo>
                  <a:pt x="1314" y="1470"/>
                </a:lnTo>
                <a:lnTo>
                  <a:pt x="1314" y="1476"/>
                </a:lnTo>
                <a:lnTo>
                  <a:pt x="1308" y="1482"/>
                </a:lnTo>
                <a:lnTo>
                  <a:pt x="1308" y="1488"/>
                </a:lnTo>
                <a:lnTo>
                  <a:pt x="1314" y="1488"/>
                </a:lnTo>
                <a:lnTo>
                  <a:pt x="1320" y="1488"/>
                </a:lnTo>
                <a:lnTo>
                  <a:pt x="1326" y="1494"/>
                </a:lnTo>
                <a:lnTo>
                  <a:pt x="1326" y="1500"/>
                </a:lnTo>
                <a:lnTo>
                  <a:pt x="1320" y="1506"/>
                </a:lnTo>
                <a:lnTo>
                  <a:pt x="1320" y="1512"/>
                </a:lnTo>
                <a:lnTo>
                  <a:pt x="1314" y="1512"/>
                </a:lnTo>
                <a:lnTo>
                  <a:pt x="1308" y="1512"/>
                </a:lnTo>
                <a:lnTo>
                  <a:pt x="1308" y="1518"/>
                </a:lnTo>
                <a:lnTo>
                  <a:pt x="1314" y="1518"/>
                </a:lnTo>
                <a:lnTo>
                  <a:pt x="1320" y="1518"/>
                </a:lnTo>
                <a:lnTo>
                  <a:pt x="1320" y="1524"/>
                </a:lnTo>
                <a:lnTo>
                  <a:pt x="1314" y="1524"/>
                </a:lnTo>
                <a:lnTo>
                  <a:pt x="1314" y="1530"/>
                </a:lnTo>
                <a:lnTo>
                  <a:pt x="1314" y="1536"/>
                </a:lnTo>
                <a:lnTo>
                  <a:pt x="1320" y="1530"/>
                </a:lnTo>
                <a:lnTo>
                  <a:pt x="1326" y="1530"/>
                </a:lnTo>
                <a:lnTo>
                  <a:pt x="1326" y="1536"/>
                </a:lnTo>
                <a:lnTo>
                  <a:pt x="1332" y="1536"/>
                </a:lnTo>
                <a:lnTo>
                  <a:pt x="1332" y="1542"/>
                </a:lnTo>
                <a:lnTo>
                  <a:pt x="1326" y="1542"/>
                </a:lnTo>
                <a:lnTo>
                  <a:pt x="1326" y="1548"/>
                </a:lnTo>
                <a:lnTo>
                  <a:pt x="1326" y="1554"/>
                </a:lnTo>
                <a:lnTo>
                  <a:pt x="1326" y="1560"/>
                </a:lnTo>
                <a:lnTo>
                  <a:pt x="1326" y="1566"/>
                </a:lnTo>
                <a:lnTo>
                  <a:pt x="1326" y="1572"/>
                </a:lnTo>
                <a:lnTo>
                  <a:pt x="1332" y="1572"/>
                </a:lnTo>
                <a:lnTo>
                  <a:pt x="1332" y="1578"/>
                </a:lnTo>
                <a:lnTo>
                  <a:pt x="1326" y="1578"/>
                </a:lnTo>
                <a:lnTo>
                  <a:pt x="1320" y="1584"/>
                </a:lnTo>
                <a:lnTo>
                  <a:pt x="1326" y="1584"/>
                </a:lnTo>
                <a:lnTo>
                  <a:pt x="1320" y="1584"/>
                </a:lnTo>
                <a:lnTo>
                  <a:pt x="1320" y="1590"/>
                </a:lnTo>
                <a:lnTo>
                  <a:pt x="1326" y="1590"/>
                </a:lnTo>
                <a:lnTo>
                  <a:pt x="1332" y="1596"/>
                </a:lnTo>
                <a:lnTo>
                  <a:pt x="1338" y="1596"/>
                </a:lnTo>
                <a:lnTo>
                  <a:pt x="1338" y="1602"/>
                </a:lnTo>
                <a:lnTo>
                  <a:pt x="1338" y="1608"/>
                </a:lnTo>
                <a:lnTo>
                  <a:pt x="1338" y="1614"/>
                </a:lnTo>
                <a:lnTo>
                  <a:pt x="1338" y="1620"/>
                </a:lnTo>
                <a:lnTo>
                  <a:pt x="1338" y="1626"/>
                </a:lnTo>
                <a:lnTo>
                  <a:pt x="1338" y="1632"/>
                </a:lnTo>
                <a:lnTo>
                  <a:pt x="1332" y="1638"/>
                </a:lnTo>
                <a:lnTo>
                  <a:pt x="1326" y="1638"/>
                </a:lnTo>
                <a:lnTo>
                  <a:pt x="1326" y="1644"/>
                </a:lnTo>
                <a:lnTo>
                  <a:pt x="1332" y="1644"/>
                </a:lnTo>
                <a:lnTo>
                  <a:pt x="1332" y="1650"/>
                </a:lnTo>
                <a:lnTo>
                  <a:pt x="1326" y="1650"/>
                </a:lnTo>
                <a:lnTo>
                  <a:pt x="1326" y="1656"/>
                </a:lnTo>
                <a:lnTo>
                  <a:pt x="1326" y="1662"/>
                </a:lnTo>
                <a:lnTo>
                  <a:pt x="1326" y="1668"/>
                </a:lnTo>
                <a:lnTo>
                  <a:pt x="1326" y="1674"/>
                </a:lnTo>
                <a:lnTo>
                  <a:pt x="1320" y="1674"/>
                </a:lnTo>
                <a:lnTo>
                  <a:pt x="1320" y="1680"/>
                </a:lnTo>
                <a:lnTo>
                  <a:pt x="1314" y="1674"/>
                </a:lnTo>
                <a:lnTo>
                  <a:pt x="1302" y="1674"/>
                </a:lnTo>
                <a:lnTo>
                  <a:pt x="1296" y="1668"/>
                </a:lnTo>
                <a:lnTo>
                  <a:pt x="1290" y="1668"/>
                </a:lnTo>
                <a:lnTo>
                  <a:pt x="1284" y="1668"/>
                </a:lnTo>
                <a:lnTo>
                  <a:pt x="1278" y="1668"/>
                </a:lnTo>
                <a:lnTo>
                  <a:pt x="1278" y="1662"/>
                </a:lnTo>
                <a:lnTo>
                  <a:pt x="1272" y="1662"/>
                </a:lnTo>
                <a:lnTo>
                  <a:pt x="1266" y="1662"/>
                </a:lnTo>
                <a:lnTo>
                  <a:pt x="1266" y="1656"/>
                </a:lnTo>
                <a:lnTo>
                  <a:pt x="1260" y="1656"/>
                </a:lnTo>
                <a:lnTo>
                  <a:pt x="1260" y="1662"/>
                </a:lnTo>
                <a:lnTo>
                  <a:pt x="1260" y="1668"/>
                </a:lnTo>
                <a:lnTo>
                  <a:pt x="1254" y="1668"/>
                </a:lnTo>
                <a:lnTo>
                  <a:pt x="1248" y="1668"/>
                </a:lnTo>
                <a:lnTo>
                  <a:pt x="1248" y="1674"/>
                </a:lnTo>
                <a:lnTo>
                  <a:pt x="1254" y="1674"/>
                </a:lnTo>
                <a:lnTo>
                  <a:pt x="1254" y="1680"/>
                </a:lnTo>
                <a:lnTo>
                  <a:pt x="1260" y="1680"/>
                </a:lnTo>
                <a:lnTo>
                  <a:pt x="1260" y="1686"/>
                </a:lnTo>
                <a:lnTo>
                  <a:pt x="1260" y="1692"/>
                </a:lnTo>
                <a:lnTo>
                  <a:pt x="1260" y="1698"/>
                </a:lnTo>
                <a:lnTo>
                  <a:pt x="1260" y="1704"/>
                </a:lnTo>
                <a:lnTo>
                  <a:pt x="1260" y="1710"/>
                </a:lnTo>
                <a:lnTo>
                  <a:pt x="1254" y="1710"/>
                </a:lnTo>
                <a:lnTo>
                  <a:pt x="1254" y="1716"/>
                </a:lnTo>
                <a:lnTo>
                  <a:pt x="1248" y="1710"/>
                </a:lnTo>
                <a:lnTo>
                  <a:pt x="1242" y="1710"/>
                </a:lnTo>
                <a:lnTo>
                  <a:pt x="1236" y="1710"/>
                </a:lnTo>
                <a:lnTo>
                  <a:pt x="1236" y="1716"/>
                </a:lnTo>
                <a:lnTo>
                  <a:pt x="1230" y="1716"/>
                </a:lnTo>
                <a:lnTo>
                  <a:pt x="1230" y="1722"/>
                </a:lnTo>
                <a:lnTo>
                  <a:pt x="1230" y="1728"/>
                </a:lnTo>
                <a:lnTo>
                  <a:pt x="1230" y="1734"/>
                </a:lnTo>
                <a:lnTo>
                  <a:pt x="1230" y="1740"/>
                </a:lnTo>
                <a:lnTo>
                  <a:pt x="1230" y="1734"/>
                </a:lnTo>
                <a:lnTo>
                  <a:pt x="1230" y="1740"/>
                </a:lnTo>
                <a:lnTo>
                  <a:pt x="1224" y="1740"/>
                </a:lnTo>
                <a:lnTo>
                  <a:pt x="1218" y="1740"/>
                </a:lnTo>
                <a:lnTo>
                  <a:pt x="1212" y="1740"/>
                </a:lnTo>
                <a:lnTo>
                  <a:pt x="1206" y="1740"/>
                </a:lnTo>
                <a:lnTo>
                  <a:pt x="1206" y="1746"/>
                </a:lnTo>
                <a:lnTo>
                  <a:pt x="1200" y="1746"/>
                </a:lnTo>
                <a:lnTo>
                  <a:pt x="1200" y="1752"/>
                </a:lnTo>
                <a:lnTo>
                  <a:pt x="1206" y="1752"/>
                </a:lnTo>
                <a:lnTo>
                  <a:pt x="1212" y="1752"/>
                </a:lnTo>
                <a:lnTo>
                  <a:pt x="1212" y="1758"/>
                </a:lnTo>
                <a:lnTo>
                  <a:pt x="1212" y="1764"/>
                </a:lnTo>
                <a:lnTo>
                  <a:pt x="1212" y="1770"/>
                </a:lnTo>
                <a:lnTo>
                  <a:pt x="1218" y="1770"/>
                </a:lnTo>
                <a:lnTo>
                  <a:pt x="1224" y="1770"/>
                </a:lnTo>
                <a:lnTo>
                  <a:pt x="1224" y="1776"/>
                </a:lnTo>
                <a:lnTo>
                  <a:pt x="1224" y="1782"/>
                </a:lnTo>
                <a:lnTo>
                  <a:pt x="1224" y="1788"/>
                </a:lnTo>
                <a:lnTo>
                  <a:pt x="1230" y="1794"/>
                </a:lnTo>
                <a:lnTo>
                  <a:pt x="1224" y="1800"/>
                </a:lnTo>
                <a:lnTo>
                  <a:pt x="1224" y="1794"/>
                </a:lnTo>
                <a:lnTo>
                  <a:pt x="1224" y="1800"/>
                </a:lnTo>
                <a:lnTo>
                  <a:pt x="1230" y="1800"/>
                </a:lnTo>
                <a:lnTo>
                  <a:pt x="1230" y="1806"/>
                </a:lnTo>
                <a:lnTo>
                  <a:pt x="1224" y="1806"/>
                </a:lnTo>
                <a:lnTo>
                  <a:pt x="1224" y="1812"/>
                </a:lnTo>
                <a:lnTo>
                  <a:pt x="1230" y="1812"/>
                </a:lnTo>
                <a:lnTo>
                  <a:pt x="1230" y="1818"/>
                </a:lnTo>
                <a:lnTo>
                  <a:pt x="1230" y="1812"/>
                </a:lnTo>
                <a:lnTo>
                  <a:pt x="1236" y="1812"/>
                </a:lnTo>
                <a:lnTo>
                  <a:pt x="1236" y="1806"/>
                </a:lnTo>
                <a:lnTo>
                  <a:pt x="1242" y="1806"/>
                </a:lnTo>
                <a:lnTo>
                  <a:pt x="1242" y="1812"/>
                </a:lnTo>
                <a:lnTo>
                  <a:pt x="1248" y="1812"/>
                </a:lnTo>
                <a:lnTo>
                  <a:pt x="1248" y="1806"/>
                </a:lnTo>
                <a:lnTo>
                  <a:pt x="1248" y="1800"/>
                </a:lnTo>
                <a:lnTo>
                  <a:pt x="1254" y="1800"/>
                </a:lnTo>
                <a:lnTo>
                  <a:pt x="1254" y="1806"/>
                </a:lnTo>
                <a:lnTo>
                  <a:pt x="1260" y="1806"/>
                </a:lnTo>
                <a:lnTo>
                  <a:pt x="1260" y="1812"/>
                </a:lnTo>
                <a:lnTo>
                  <a:pt x="1260" y="1818"/>
                </a:lnTo>
                <a:lnTo>
                  <a:pt x="1260" y="1824"/>
                </a:lnTo>
                <a:lnTo>
                  <a:pt x="1260" y="1830"/>
                </a:lnTo>
                <a:lnTo>
                  <a:pt x="1266" y="1836"/>
                </a:lnTo>
                <a:lnTo>
                  <a:pt x="1266" y="1842"/>
                </a:lnTo>
                <a:lnTo>
                  <a:pt x="1266" y="1848"/>
                </a:lnTo>
                <a:lnTo>
                  <a:pt x="1260" y="1848"/>
                </a:lnTo>
                <a:lnTo>
                  <a:pt x="1260" y="1854"/>
                </a:lnTo>
                <a:lnTo>
                  <a:pt x="1260" y="1860"/>
                </a:lnTo>
                <a:lnTo>
                  <a:pt x="1266" y="1860"/>
                </a:lnTo>
                <a:lnTo>
                  <a:pt x="1266" y="1866"/>
                </a:lnTo>
                <a:lnTo>
                  <a:pt x="1266" y="1872"/>
                </a:lnTo>
                <a:lnTo>
                  <a:pt x="1266" y="1878"/>
                </a:lnTo>
                <a:lnTo>
                  <a:pt x="1260" y="1878"/>
                </a:lnTo>
                <a:lnTo>
                  <a:pt x="1260" y="1884"/>
                </a:lnTo>
                <a:lnTo>
                  <a:pt x="1254" y="1884"/>
                </a:lnTo>
                <a:lnTo>
                  <a:pt x="1248" y="1884"/>
                </a:lnTo>
                <a:lnTo>
                  <a:pt x="1242" y="1890"/>
                </a:lnTo>
                <a:lnTo>
                  <a:pt x="1242" y="1896"/>
                </a:lnTo>
                <a:lnTo>
                  <a:pt x="1236" y="1896"/>
                </a:lnTo>
                <a:lnTo>
                  <a:pt x="1236" y="1902"/>
                </a:lnTo>
                <a:lnTo>
                  <a:pt x="1236" y="1896"/>
                </a:lnTo>
                <a:lnTo>
                  <a:pt x="1230" y="1896"/>
                </a:lnTo>
                <a:lnTo>
                  <a:pt x="1224" y="1896"/>
                </a:lnTo>
                <a:lnTo>
                  <a:pt x="1224" y="1890"/>
                </a:lnTo>
                <a:lnTo>
                  <a:pt x="1218" y="1890"/>
                </a:lnTo>
                <a:lnTo>
                  <a:pt x="1218" y="1896"/>
                </a:lnTo>
                <a:lnTo>
                  <a:pt x="1218" y="1902"/>
                </a:lnTo>
                <a:lnTo>
                  <a:pt x="1224" y="1902"/>
                </a:lnTo>
                <a:lnTo>
                  <a:pt x="1218" y="1902"/>
                </a:lnTo>
                <a:lnTo>
                  <a:pt x="1218" y="1908"/>
                </a:lnTo>
                <a:lnTo>
                  <a:pt x="1224" y="1908"/>
                </a:lnTo>
                <a:lnTo>
                  <a:pt x="1218" y="1908"/>
                </a:lnTo>
                <a:lnTo>
                  <a:pt x="1218" y="1914"/>
                </a:lnTo>
                <a:lnTo>
                  <a:pt x="1212" y="1914"/>
                </a:lnTo>
                <a:lnTo>
                  <a:pt x="1212" y="1920"/>
                </a:lnTo>
                <a:lnTo>
                  <a:pt x="1206" y="1920"/>
                </a:lnTo>
                <a:lnTo>
                  <a:pt x="1200" y="1926"/>
                </a:lnTo>
                <a:lnTo>
                  <a:pt x="1194" y="1926"/>
                </a:lnTo>
                <a:lnTo>
                  <a:pt x="1188" y="1932"/>
                </a:lnTo>
                <a:lnTo>
                  <a:pt x="1182" y="1932"/>
                </a:lnTo>
                <a:lnTo>
                  <a:pt x="1176" y="1938"/>
                </a:lnTo>
                <a:lnTo>
                  <a:pt x="1170" y="1938"/>
                </a:lnTo>
                <a:lnTo>
                  <a:pt x="1164" y="1944"/>
                </a:lnTo>
                <a:lnTo>
                  <a:pt x="1158" y="1944"/>
                </a:lnTo>
                <a:lnTo>
                  <a:pt x="1152" y="1944"/>
                </a:lnTo>
                <a:lnTo>
                  <a:pt x="1146" y="1944"/>
                </a:lnTo>
                <a:lnTo>
                  <a:pt x="1146" y="1950"/>
                </a:lnTo>
                <a:lnTo>
                  <a:pt x="1140" y="1950"/>
                </a:lnTo>
                <a:lnTo>
                  <a:pt x="1134" y="1950"/>
                </a:lnTo>
                <a:lnTo>
                  <a:pt x="1128" y="1950"/>
                </a:lnTo>
                <a:lnTo>
                  <a:pt x="1122" y="1950"/>
                </a:lnTo>
                <a:lnTo>
                  <a:pt x="1122" y="1944"/>
                </a:lnTo>
                <a:lnTo>
                  <a:pt x="1122" y="1950"/>
                </a:lnTo>
                <a:lnTo>
                  <a:pt x="1122" y="1944"/>
                </a:lnTo>
                <a:lnTo>
                  <a:pt x="1116" y="1944"/>
                </a:lnTo>
                <a:lnTo>
                  <a:pt x="1110" y="1944"/>
                </a:lnTo>
                <a:lnTo>
                  <a:pt x="1104" y="1944"/>
                </a:lnTo>
                <a:lnTo>
                  <a:pt x="1098" y="1944"/>
                </a:lnTo>
                <a:lnTo>
                  <a:pt x="1098" y="1938"/>
                </a:lnTo>
                <a:lnTo>
                  <a:pt x="1098" y="1932"/>
                </a:lnTo>
                <a:lnTo>
                  <a:pt x="1092" y="1932"/>
                </a:lnTo>
                <a:lnTo>
                  <a:pt x="1092" y="1926"/>
                </a:lnTo>
                <a:lnTo>
                  <a:pt x="1098" y="1926"/>
                </a:lnTo>
                <a:lnTo>
                  <a:pt x="1104" y="1926"/>
                </a:lnTo>
                <a:lnTo>
                  <a:pt x="1104" y="1920"/>
                </a:lnTo>
                <a:lnTo>
                  <a:pt x="1104" y="1914"/>
                </a:lnTo>
                <a:lnTo>
                  <a:pt x="1104" y="1908"/>
                </a:lnTo>
                <a:lnTo>
                  <a:pt x="1104" y="1902"/>
                </a:lnTo>
                <a:lnTo>
                  <a:pt x="1110" y="1902"/>
                </a:lnTo>
                <a:lnTo>
                  <a:pt x="1110" y="1896"/>
                </a:lnTo>
                <a:lnTo>
                  <a:pt x="1104" y="1896"/>
                </a:lnTo>
                <a:lnTo>
                  <a:pt x="1104" y="1890"/>
                </a:lnTo>
                <a:lnTo>
                  <a:pt x="1104" y="1884"/>
                </a:lnTo>
                <a:lnTo>
                  <a:pt x="1098" y="1884"/>
                </a:lnTo>
                <a:lnTo>
                  <a:pt x="1092" y="1884"/>
                </a:lnTo>
                <a:lnTo>
                  <a:pt x="1092" y="1890"/>
                </a:lnTo>
                <a:lnTo>
                  <a:pt x="1086" y="1890"/>
                </a:lnTo>
                <a:lnTo>
                  <a:pt x="1086" y="1884"/>
                </a:lnTo>
                <a:lnTo>
                  <a:pt x="1080" y="1884"/>
                </a:lnTo>
                <a:lnTo>
                  <a:pt x="1074" y="1884"/>
                </a:lnTo>
                <a:lnTo>
                  <a:pt x="1068" y="1878"/>
                </a:lnTo>
                <a:lnTo>
                  <a:pt x="1062" y="1878"/>
                </a:lnTo>
                <a:lnTo>
                  <a:pt x="1062" y="1872"/>
                </a:lnTo>
                <a:lnTo>
                  <a:pt x="1062" y="1866"/>
                </a:lnTo>
                <a:lnTo>
                  <a:pt x="1056" y="1866"/>
                </a:lnTo>
                <a:lnTo>
                  <a:pt x="1056" y="1860"/>
                </a:lnTo>
                <a:lnTo>
                  <a:pt x="1062" y="1860"/>
                </a:lnTo>
                <a:lnTo>
                  <a:pt x="1056" y="1860"/>
                </a:lnTo>
                <a:lnTo>
                  <a:pt x="1056" y="1854"/>
                </a:lnTo>
                <a:lnTo>
                  <a:pt x="1056" y="1848"/>
                </a:lnTo>
                <a:lnTo>
                  <a:pt x="1050" y="1848"/>
                </a:lnTo>
                <a:lnTo>
                  <a:pt x="1050" y="1842"/>
                </a:lnTo>
                <a:lnTo>
                  <a:pt x="1050" y="1836"/>
                </a:lnTo>
                <a:lnTo>
                  <a:pt x="1050" y="1830"/>
                </a:lnTo>
                <a:lnTo>
                  <a:pt x="1050" y="1824"/>
                </a:lnTo>
                <a:lnTo>
                  <a:pt x="1044" y="1824"/>
                </a:lnTo>
                <a:lnTo>
                  <a:pt x="1044" y="1818"/>
                </a:lnTo>
                <a:lnTo>
                  <a:pt x="1050" y="1818"/>
                </a:lnTo>
                <a:lnTo>
                  <a:pt x="1050" y="1812"/>
                </a:lnTo>
                <a:lnTo>
                  <a:pt x="1050" y="1806"/>
                </a:lnTo>
                <a:lnTo>
                  <a:pt x="1056" y="1806"/>
                </a:lnTo>
                <a:lnTo>
                  <a:pt x="1056" y="1800"/>
                </a:lnTo>
                <a:lnTo>
                  <a:pt x="1050" y="1794"/>
                </a:lnTo>
                <a:lnTo>
                  <a:pt x="1050" y="1788"/>
                </a:lnTo>
                <a:lnTo>
                  <a:pt x="1044" y="1788"/>
                </a:lnTo>
                <a:lnTo>
                  <a:pt x="1044" y="1782"/>
                </a:lnTo>
                <a:lnTo>
                  <a:pt x="1044" y="1776"/>
                </a:lnTo>
                <a:lnTo>
                  <a:pt x="1038" y="1776"/>
                </a:lnTo>
                <a:lnTo>
                  <a:pt x="1038" y="1770"/>
                </a:lnTo>
                <a:lnTo>
                  <a:pt x="1044" y="1770"/>
                </a:lnTo>
                <a:lnTo>
                  <a:pt x="1038" y="1764"/>
                </a:lnTo>
                <a:lnTo>
                  <a:pt x="1032" y="1764"/>
                </a:lnTo>
                <a:lnTo>
                  <a:pt x="1032" y="1758"/>
                </a:lnTo>
                <a:lnTo>
                  <a:pt x="1026" y="1758"/>
                </a:lnTo>
                <a:lnTo>
                  <a:pt x="1020" y="1758"/>
                </a:lnTo>
                <a:lnTo>
                  <a:pt x="1020" y="1752"/>
                </a:lnTo>
                <a:lnTo>
                  <a:pt x="1026" y="1752"/>
                </a:lnTo>
                <a:lnTo>
                  <a:pt x="1026" y="1746"/>
                </a:lnTo>
                <a:lnTo>
                  <a:pt x="1026" y="1740"/>
                </a:lnTo>
                <a:lnTo>
                  <a:pt x="1032" y="1740"/>
                </a:lnTo>
                <a:lnTo>
                  <a:pt x="1032" y="1734"/>
                </a:lnTo>
                <a:lnTo>
                  <a:pt x="1032" y="1728"/>
                </a:lnTo>
                <a:lnTo>
                  <a:pt x="1038" y="1728"/>
                </a:lnTo>
                <a:lnTo>
                  <a:pt x="1038" y="1722"/>
                </a:lnTo>
                <a:lnTo>
                  <a:pt x="1038" y="1716"/>
                </a:lnTo>
                <a:lnTo>
                  <a:pt x="1032" y="1716"/>
                </a:lnTo>
                <a:lnTo>
                  <a:pt x="1032" y="1710"/>
                </a:lnTo>
                <a:lnTo>
                  <a:pt x="1026" y="1710"/>
                </a:lnTo>
                <a:lnTo>
                  <a:pt x="1020" y="1710"/>
                </a:lnTo>
                <a:lnTo>
                  <a:pt x="1020" y="1716"/>
                </a:lnTo>
                <a:lnTo>
                  <a:pt x="1026" y="1722"/>
                </a:lnTo>
                <a:lnTo>
                  <a:pt x="1026" y="1728"/>
                </a:lnTo>
                <a:lnTo>
                  <a:pt x="1020" y="1728"/>
                </a:lnTo>
                <a:lnTo>
                  <a:pt x="1014" y="1728"/>
                </a:lnTo>
                <a:lnTo>
                  <a:pt x="1014" y="1722"/>
                </a:lnTo>
                <a:lnTo>
                  <a:pt x="1008" y="1728"/>
                </a:lnTo>
                <a:lnTo>
                  <a:pt x="1008" y="1722"/>
                </a:lnTo>
                <a:lnTo>
                  <a:pt x="1002" y="1722"/>
                </a:lnTo>
                <a:lnTo>
                  <a:pt x="1002" y="1716"/>
                </a:lnTo>
                <a:lnTo>
                  <a:pt x="996" y="1716"/>
                </a:lnTo>
                <a:lnTo>
                  <a:pt x="996" y="1722"/>
                </a:lnTo>
                <a:lnTo>
                  <a:pt x="990" y="1722"/>
                </a:lnTo>
                <a:lnTo>
                  <a:pt x="990" y="1716"/>
                </a:lnTo>
                <a:lnTo>
                  <a:pt x="984" y="1716"/>
                </a:lnTo>
                <a:lnTo>
                  <a:pt x="984" y="1710"/>
                </a:lnTo>
                <a:lnTo>
                  <a:pt x="978" y="1716"/>
                </a:lnTo>
                <a:lnTo>
                  <a:pt x="972" y="1716"/>
                </a:lnTo>
                <a:lnTo>
                  <a:pt x="972" y="1722"/>
                </a:lnTo>
                <a:lnTo>
                  <a:pt x="972" y="1728"/>
                </a:lnTo>
                <a:lnTo>
                  <a:pt x="966" y="1728"/>
                </a:lnTo>
                <a:lnTo>
                  <a:pt x="960" y="1728"/>
                </a:lnTo>
                <a:lnTo>
                  <a:pt x="954" y="1728"/>
                </a:lnTo>
                <a:lnTo>
                  <a:pt x="948" y="1728"/>
                </a:lnTo>
                <a:lnTo>
                  <a:pt x="942" y="1728"/>
                </a:lnTo>
                <a:lnTo>
                  <a:pt x="942" y="1722"/>
                </a:lnTo>
                <a:lnTo>
                  <a:pt x="936" y="1722"/>
                </a:lnTo>
                <a:lnTo>
                  <a:pt x="936" y="1716"/>
                </a:lnTo>
                <a:lnTo>
                  <a:pt x="942" y="1716"/>
                </a:lnTo>
                <a:lnTo>
                  <a:pt x="942" y="1710"/>
                </a:lnTo>
                <a:lnTo>
                  <a:pt x="936" y="1710"/>
                </a:lnTo>
                <a:lnTo>
                  <a:pt x="936" y="1704"/>
                </a:lnTo>
                <a:lnTo>
                  <a:pt x="936" y="1698"/>
                </a:lnTo>
                <a:lnTo>
                  <a:pt x="930" y="1698"/>
                </a:lnTo>
                <a:lnTo>
                  <a:pt x="924" y="1692"/>
                </a:lnTo>
                <a:lnTo>
                  <a:pt x="924" y="1686"/>
                </a:lnTo>
                <a:lnTo>
                  <a:pt x="924" y="1680"/>
                </a:lnTo>
                <a:lnTo>
                  <a:pt x="918" y="1680"/>
                </a:lnTo>
                <a:lnTo>
                  <a:pt x="918" y="1674"/>
                </a:lnTo>
                <a:lnTo>
                  <a:pt x="924" y="1674"/>
                </a:lnTo>
                <a:lnTo>
                  <a:pt x="918" y="1674"/>
                </a:lnTo>
                <a:lnTo>
                  <a:pt x="918" y="1668"/>
                </a:lnTo>
                <a:lnTo>
                  <a:pt x="918" y="1662"/>
                </a:lnTo>
                <a:lnTo>
                  <a:pt x="924" y="1662"/>
                </a:lnTo>
                <a:lnTo>
                  <a:pt x="924" y="1656"/>
                </a:lnTo>
                <a:lnTo>
                  <a:pt x="918" y="1656"/>
                </a:lnTo>
                <a:lnTo>
                  <a:pt x="912" y="1656"/>
                </a:lnTo>
                <a:lnTo>
                  <a:pt x="912" y="1650"/>
                </a:lnTo>
                <a:lnTo>
                  <a:pt x="918" y="1650"/>
                </a:lnTo>
                <a:lnTo>
                  <a:pt x="924" y="1650"/>
                </a:lnTo>
                <a:lnTo>
                  <a:pt x="924" y="1644"/>
                </a:lnTo>
                <a:lnTo>
                  <a:pt x="930" y="1644"/>
                </a:lnTo>
                <a:lnTo>
                  <a:pt x="936" y="1644"/>
                </a:lnTo>
                <a:lnTo>
                  <a:pt x="936" y="1638"/>
                </a:lnTo>
                <a:lnTo>
                  <a:pt x="942" y="1638"/>
                </a:lnTo>
                <a:lnTo>
                  <a:pt x="942" y="1632"/>
                </a:lnTo>
                <a:lnTo>
                  <a:pt x="942" y="1626"/>
                </a:lnTo>
                <a:lnTo>
                  <a:pt x="942" y="1620"/>
                </a:lnTo>
                <a:lnTo>
                  <a:pt x="942" y="1614"/>
                </a:lnTo>
                <a:lnTo>
                  <a:pt x="942" y="1608"/>
                </a:lnTo>
                <a:lnTo>
                  <a:pt x="942" y="1602"/>
                </a:lnTo>
                <a:lnTo>
                  <a:pt x="936" y="1602"/>
                </a:lnTo>
                <a:lnTo>
                  <a:pt x="936" y="1596"/>
                </a:lnTo>
                <a:lnTo>
                  <a:pt x="930" y="1596"/>
                </a:lnTo>
                <a:lnTo>
                  <a:pt x="930" y="1590"/>
                </a:lnTo>
                <a:lnTo>
                  <a:pt x="924" y="1590"/>
                </a:lnTo>
                <a:lnTo>
                  <a:pt x="918" y="1590"/>
                </a:lnTo>
                <a:lnTo>
                  <a:pt x="912" y="1590"/>
                </a:lnTo>
                <a:lnTo>
                  <a:pt x="912" y="1584"/>
                </a:lnTo>
                <a:lnTo>
                  <a:pt x="912" y="1578"/>
                </a:lnTo>
                <a:lnTo>
                  <a:pt x="912" y="1572"/>
                </a:lnTo>
                <a:lnTo>
                  <a:pt x="906" y="1572"/>
                </a:lnTo>
                <a:lnTo>
                  <a:pt x="900" y="1572"/>
                </a:lnTo>
                <a:lnTo>
                  <a:pt x="900" y="1566"/>
                </a:lnTo>
                <a:lnTo>
                  <a:pt x="894" y="1566"/>
                </a:lnTo>
                <a:lnTo>
                  <a:pt x="888" y="1566"/>
                </a:lnTo>
                <a:lnTo>
                  <a:pt x="882" y="1566"/>
                </a:lnTo>
                <a:lnTo>
                  <a:pt x="882" y="1560"/>
                </a:lnTo>
                <a:lnTo>
                  <a:pt x="876" y="1560"/>
                </a:lnTo>
                <a:lnTo>
                  <a:pt x="870" y="1560"/>
                </a:lnTo>
                <a:lnTo>
                  <a:pt x="864" y="1560"/>
                </a:lnTo>
                <a:lnTo>
                  <a:pt x="858" y="1560"/>
                </a:lnTo>
                <a:lnTo>
                  <a:pt x="852" y="1560"/>
                </a:lnTo>
                <a:lnTo>
                  <a:pt x="846" y="1560"/>
                </a:lnTo>
                <a:lnTo>
                  <a:pt x="840" y="1560"/>
                </a:lnTo>
                <a:lnTo>
                  <a:pt x="834" y="1560"/>
                </a:lnTo>
                <a:lnTo>
                  <a:pt x="834" y="1554"/>
                </a:lnTo>
                <a:lnTo>
                  <a:pt x="828" y="1554"/>
                </a:lnTo>
                <a:lnTo>
                  <a:pt x="822" y="1554"/>
                </a:lnTo>
                <a:lnTo>
                  <a:pt x="816" y="1554"/>
                </a:lnTo>
                <a:lnTo>
                  <a:pt x="810" y="1554"/>
                </a:lnTo>
                <a:lnTo>
                  <a:pt x="804" y="1554"/>
                </a:lnTo>
                <a:lnTo>
                  <a:pt x="798" y="1554"/>
                </a:lnTo>
                <a:lnTo>
                  <a:pt x="792" y="1554"/>
                </a:lnTo>
                <a:lnTo>
                  <a:pt x="786" y="1554"/>
                </a:lnTo>
                <a:lnTo>
                  <a:pt x="786" y="1560"/>
                </a:lnTo>
                <a:lnTo>
                  <a:pt x="780" y="1560"/>
                </a:lnTo>
                <a:lnTo>
                  <a:pt x="780" y="1554"/>
                </a:lnTo>
                <a:lnTo>
                  <a:pt x="780" y="1560"/>
                </a:lnTo>
                <a:lnTo>
                  <a:pt x="774" y="1560"/>
                </a:lnTo>
                <a:lnTo>
                  <a:pt x="774" y="1566"/>
                </a:lnTo>
                <a:lnTo>
                  <a:pt x="768" y="1566"/>
                </a:lnTo>
                <a:lnTo>
                  <a:pt x="762" y="1566"/>
                </a:lnTo>
                <a:lnTo>
                  <a:pt x="762" y="1572"/>
                </a:lnTo>
                <a:lnTo>
                  <a:pt x="756" y="1572"/>
                </a:lnTo>
                <a:lnTo>
                  <a:pt x="756" y="1578"/>
                </a:lnTo>
                <a:lnTo>
                  <a:pt x="756" y="1584"/>
                </a:lnTo>
                <a:lnTo>
                  <a:pt x="756" y="1590"/>
                </a:lnTo>
                <a:lnTo>
                  <a:pt x="756" y="1596"/>
                </a:lnTo>
                <a:lnTo>
                  <a:pt x="762" y="1596"/>
                </a:lnTo>
                <a:lnTo>
                  <a:pt x="762" y="1602"/>
                </a:lnTo>
                <a:lnTo>
                  <a:pt x="756" y="1602"/>
                </a:lnTo>
                <a:lnTo>
                  <a:pt x="762" y="1602"/>
                </a:lnTo>
                <a:lnTo>
                  <a:pt x="762" y="1608"/>
                </a:lnTo>
                <a:lnTo>
                  <a:pt x="762" y="1614"/>
                </a:lnTo>
                <a:lnTo>
                  <a:pt x="762" y="1620"/>
                </a:lnTo>
                <a:lnTo>
                  <a:pt x="756" y="1620"/>
                </a:lnTo>
                <a:lnTo>
                  <a:pt x="762" y="1620"/>
                </a:lnTo>
                <a:lnTo>
                  <a:pt x="756" y="1620"/>
                </a:lnTo>
                <a:lnTo>
                  <a:pt x="756" y="1614"/>
                </a:lnTo>
                <a:lnTo>
                  <a:pt x="750" y="1614"/>
                </a:lnTo>
                <a:lnTo>
                  <a:pt x="744" y="1614"/>
                </a:lnTo>
                <a:lnTo>
                  <a:pt x="744" y="1620"/>
                </a:lnTo>
                <a:lnTo>
                  <a:pt x="738" y="1620"/>
                </a:lnTo>
                <a:lnTo>
                  <a:pt x="732" y="1626"/>
                </a:lnTo>
                <a:lnTo>
                  <a:pt x="726" y="1626"/>
                </a:lnTo>
                <a:lnTo>
                  <a:pt x="720" y="1626"/>
                </a:lnTo>
                <a:lnTo>
                  <a:pt x="714" y="1626"/>
                </a:lnTo>
                <a:lnTo>
                  <a:pt x="714" y="1620"/>
                </a:lnTo>
                <a:lnTo>
                  <a:pt x="708" y="1620"/>
                </a:lnTo>
                <a:lnTo>
                  <a:pt x="702" y="1620"/>
                </a:lnTo>
                <a:lnTo>
                  <a:pt x="702" y="1626"/>
                </a:lnTo>
                <a:lnTo>
                  <a:pt x="696" y="1626"/>
                </a:lnTo>
                <a:lnTo>
                  <a:pt x="690" y="1626"/>
                </a:lnTo>
                <a:lnTo>
                  <a:pt x="690" y="1632"/>
                </a:lnTo>
                <a:lnTo>
                  <a:pt x="690" y="1638"/>
                </a:lnTo>
                <a:lnTo>
                  <a:pt x="690" y="1644"/>
                </a:lnTo>
                <a:lnTo>
                  <a:pt x="684" y="1644"/>
                </a:lnTo>
                <a:lnTo>
                  <a:pt x="684" y="1638"/>
                </a:lnTo>
                <a:lnTo>
                  <a:pt x="678" y="1638"/>
                </a:lnTo>
                <a:lnTo>
                  <a:pt x="672" y="1638"/>
                </a:lnTo>
                <a:lnTo>
                  <a:pt x="666" y="1644"/>
                </a:lnTo>
                <a:lnTo>
                  <a:pt x="666" y="1638"/>
                </a:lnTo>
                <a:lnTo>
                  <a:pt x="666" y="1644"/>
                </a:lnTo>
                <a:lnTo>
                  <a:pt x="660" y="1644"/>
                </a:lnTo>
                <a:lnTo>
                  <a:pt x="654" y="1644"/>
                </a:lnTo>
                <a:lnTo>
                  <a:pt x="648" y="1644"/>
                </a:lnTo>
                <a:lnTo>
                  <a:pt x="648" y="1650"/>
                </a:lnTo>
                <a:lnTo>
                  <a:pt x="642" y="1650"/>
                </a:lnTo>
                <a:lnTo>
                  <a:pt x="636" y="1650"/>
                </a:lnTo>
                <a:lnTo>
                  <a:pt x="642" y="1650"/>
                </a:lnTo>
                <a:lnTo>
                  <a:pt x="642" y="1644"/>
                </a:lnTo>
                <a:lnTo>
                  <a:pt x="636" y="1644"/>
                </a:lnTo>
                <a:lnTo>
                  <a:pt x="630" y="1644"/>
                </a:lnTo>
                <a:lnTo>
                  <a:pt x="624" y="1644"/>
                </a:lnTo>
                <a:lnTo>
                  <a:pt x="618" y="1644"/>
                </a:lnTo>
                <a:lnTo>
                  <a:pt x="618" y="1638"/>
                </a:lnTo>
                <a:lnTo>
                  <a:pt x="612" y="1638"/>
                </a:lnTo>
                <a:lnTo>
                  <a:pt x="612" y="1632"/>
                </a:lnTo>
                <a:lnTo>
                  <a:pt x="606" y="1626"/>
                </a:lnTo>
                <a:lnTo>
                  <a:pt x="600" y="1626"/>
                </a:lnTo>
                <a:lnTo>
                  <a:pt x="594" y="1626"/>
                </a:lnTo>
                <a:lnTo>
                  <a:pt x="588" y="1626"/>
                </a:lnTo>
                <a:lnTo>
                  <a:pt x="582" y="1626"/>
                </a:lnTo>
                <a:lnTo>
                  <a:pt x="582" y="1632"/>
                </a:lnTo>
                <a:lnTo>
                  <a:pt x="576" y="1632"/>
                </a:lnTo>
                <a:lnTo>
                  <a:pt x="570" y="1632"/>
                </a:lnTo>
                <a:lnTo>
                  <a:pt x="564" y="1626"/>
                </a:lnTo>
                <a:lnTo>
                  <a:pt x="564" y="1620"/>
                </a:lnTo>
                <a:lnTo>
                  <a:pt x="558" y="1620"/>
                </a:lnTo>
                <a:lnTo>
                  <a:pt x="558" y="1614"/>
                </a:lnTo>
                <a:lnTo>
                  <a:pt x="558" y="1608"/>
                </a:lnTo>
                <a:lnTo>
                  <a:pt x="552" y="1608"/>
                </a:lnTo>
                <a:lnTo>
                  <a:pt x="546" y="1602"/>
                </a:lnTo>
                <a:lnTo>
                  <a:pt x="540" y="1602"/>
                </a:lnTo>
                <a:lnTo>
                  <a:pt x="540" y="1596"/>
                </a:lnTo>
                <a:lnTo>
                  <a:pt x="540" y="1590"/>
                </a:lnTo>
                <a:lnTo>
                  <a:pt x="546" y="1590"/>
                </a:lnTo>
                <a:lnTo>
                  <a:pt x="546" y="1584"/>
                </a:lnTo>
                <a:lnTo>
                  <a:pt x="540" y="1584"/>
                </a:lnTo>
                <a:lnTo>
                  <a:pt x="540" y="1578"/>
                </a:lnTo>
                <a:lnTo>
                  <a:pt x="534" y="1584"/>
                </a:lnTo>
                <a:lnTo>
                  <a:pt x="528" y="1584"/>
                </a:lnTo>
                <a:lnTo>
                  <a:pt x="522" y="1584"/>
                </a:lnTo>
                <a:lnTo>
                  <a:pt x="522" y="1578"/>
                </a:lnTo>
                <a:lnTo>
                  <a:pt x="516" y="1578"/>
                </a:lnTo>
                <a:lnTo>
                  <a:pt x="510" y="1578"/>
                </a:lnTo>
                <a:lnTo>
                  <a:pt x="510" y="1584"/>
                </a:lnTo>
                <a:lnTo>
                  <a:pt x="504" y="1584"/>
                </a:lnTo>
                <a:lnTo>
                  <a:pt x="498" y="1584"/>
                </a:lnTo>
                <a:lnTo>
                  <a:pt x="498" y="1578"/>
                </a:lnTo>
                <a:lnTo>
                  <a:pt x="498" y="1572"/>
                </a:lnTo>
                <a:lnTo>
                  <a:pt x="492" y="1578"/>
                </a:lnTo>
                <a:lnTo>
                  <a:pt x="486" y="1578"/>
                </a:lnTo>
                <a:lnTo>
                  <a:pt x="480" y="1578"/>
                </a:lnTo>
                <a:lnTo>
                  <a:pt x="480" y="1572"/>
                </a:lnTo>
                <a:lnTo>
                  <a:pt x="474" y="1566"/>
                </a:lnTo>
                <a:lnTo>
                  <a:pt x="474" y="1560"/>
                </a:lnTo>
                <a:lnTo>
                  <a:pt x="480" y="1560"/>
                </a:lnTo>
                <a:lnTo>
                  <a:pt x="474" y="1560"/>
                </a:lnTo>
                <a:lnTo>
                  <a:pt x="480" y="1560"/>
                </a:lnTo>
                <a:lnTo>
                  <a:pt x="480" y="1554"/>
                </a:lnTo>
                <a:lnTo>
                  <a:pt x="486" y="1554"/>
                </a:lnTo>
                <a:lnTo>
                  <a:pt x="486" y="1548"/>
                </a:lnTo>
                <a:lnTo>
                  <a:pt x="480" y="1548"/>
                </a:lnTo>
                <a:lnTo>
                  <a:pt x="486" y="1548"/>
                </a:lnTo>
                <a:lnTo>
                  <a:pt x="492" y="1548"/>
                </a:lnTo>
                <a:lnTo>
                  <a:pt x="492" y="1542"/>
                </a:lnTo>
                <a:lnTo>
                  <a:pt x="498" y="1536"/>
                </a:lnTo>
                <a:lnTo>
                  <a:pt x="492" y="1536"/>
                </a:lnTo>
                <a:lnTo>
                  <a:pt x="492" y="1530"/>
                </a:lnTo>
                <a:lnTo>
                  <a:pt x="486" y="1530"/>
                </a:lnTo>
                <a:lnTo>
                  <a:pt x="480" y="1530"/>
                </a:lnTo>
                <a:lnTo>
                  <a:pt x="474" y="1524"/>
                </a:lnTo>
                <a:lnTo>
                  <a:pt x="474" y="1518"/>
                </a:lnTo>
                <a:lnTo>
                  <a:pt x="474" y="1512"/>
                </a:lnTo>
                <a:lnTo>
                  <a:pt x="474" y="1506"/>
                </a:lnTo>
                <a:lnTo>
                  <a:pt x="468" y="1506"/>
                </a:lnTo>
                <a:lnTo>
                  <a:pt x="462" y="1506"/>
                </a:lnTo>
                <a:lnTo>
                  <a:pt x="462" y="1512"/>
                </a:lnTo>
                <a:lnTo>
                  <a:pt x="456" y="1512"/>
                </a:lnTo>
                <a:lnTo>
                  <a:pt x="450" y="1506"/>
                </a:lnTo>
                <a:lnTo>
                  <a:pt x="444" y="1506"/>
                </a:lnTo>
                <a:lnTo>
                  <a:pt x="444" y="1500"/>
                </a:lnTo>
                <a:lnTo>
                  <a:pt x="438" y="1494"/>
                </a:lnTo>
                <a:lnTo>
                  <a:pt x="432" y="1494"/>
                </a:lnTo>
                <a:lnTo>
                  <a:pt x="426" y="1494"/>
                </a:lnTo>
                <a:lnTo>
                  <a:pt x="420" y="1494"/>
                </a:lnTo>
                <a:lnTo>
                  <a:pt x="420" y="1488"/>
                </a:lnTo>
                <a:lnTo>
                  <a:pt x="426" y="1482"/>
                </a:lnTo>
                <a:lnTo>
                  <a:pt x="420" y="1482"/>
                </a:lnTo>
                <a:lnTo>
                  <a:pt x="414" y="1482"/>
                </a:lnTo>
                <a:lnTo>
                  <a:pt x="408" y="1482"/>
                </a:lnTo>
                <a:lnTo>
                  <a:pt x="402" y="1482"/>
                </a:lnTo>
                <a:lnTo>
                  <a:pt x="396" y="1488"/>
                </a:lnTo>
                <a:lnTo>
                  <a:pt x="390" y="1482"/>
                </a:lnTo>
                <a:lnTo>
                  <a:pt x="384" y="1482"/>
                </a:lnTo>
                <a:lnTo>
                  <a:pt x="378" y="1482"/>
                </a:lnTo>
                <a:lnTo>
                  <a:pt x="372" y="1482"/>
                </a:lnTo>
                <a:lnTo>
                  <a:pt x="366" y="1488"/>
                </a:lnTo>
                <a:lnTo>
                  <a:pt x="360" y="1488"/>
                </a:lnTo>
                <a:lnTo>
                  <a:pt x="360" y="1482"/>
                </a:lnTo>
                <a:lnTo>
                  <a:pt x="360" y="1488"/>
                </a:lnTo>
                <a:lnTo>
                  <a:pt x="354" y="1488"/>
                </a:lnTo>
                <a:lnTo>
                  <a:pt x="354" y="1482"/>
                </a:lnTo>
                <a:lnTo>
                  <a:pt x="348" y="1482"/>
                </a:lnTo>
                <a:lnTo>
                  <a:pt x="348" y="1476"/>
                </a:lnTo>
                <a:lnTo>
                  <a:pt x="348" y="1470"/>
                </a:lnTo>
                <a:lnTo>
                  <a:pt x="354" y="1470"/>
                </a:lnTo>
                <a:lnTo>
                  <a:pt x="354" y="1464"/>
                </a:lnTo>
                <a:lnTo>
                  <a:pt x="348" y="1464"/>
                </a:lnTo>
                <a:lnTo>
                  <a:pt x="348" y="1458"/>
                </a:lnTo>
                <a:lnTo>
                  <a:pt x="348" y="1452"/>
                </a:lnTo>
                <a:lnTo>
                  <a:pt x="348" y="1446"/>
                </a:lnTo>
                <a:lnTo>
                  <a:pt x="342" y="1446"/>
                </a:lnTo>
                <a:lnTo>
                  <a:pt x="336" y="1446"/>
                </a:lnTo>
                <a:lnTo>
                  <a:pt x="336" y="1440"/>
                </a:lnTo>
                <a:lnTo>
                  <a:pt x="342" y="1440"/>
                </a:lnTo>
                <a:lnTo>
                  <a:pt x="342" y="1434"/>
                </a:lnTo>
                <a:lnTo>
                  <a:pt x="336" y="1434"/>
                </a:lnTo>
                <a:lnTo>
                  <a:pt x="330" y="1434"/>
                </a:lnTo>
                <a:lnTo>
                  <a:pt x="330" y="1428"/>
                </a:lnTo>
                <a:lnTo>
                  <a:pt x="324" y="1428"/>
                </a:lnTo>
                <a:lnTo>
                  <a:pt x="318" y="1428"/>
                </a:lnTo>
                <a:lnTo>
                  <a:pt x="318" y="1422"/>
                </a:lnTo>
                <a:lnTo>
                  <a:pt x="312" y="1422"/>
                </a:lnTo>
                <a:lnTo>
                  <a:pt x="318" y="1422"/>
                </a:lnTo>
                <a:lnTo>
                  <a:pt x="318" y="1416"/>
                </a:lnTo>
                <a:lnTo>
                  <a:pt x="324" y="1416"/>
                </a:lnTo>
                <a:lnTo>
                  <a:pt x="318" y="1416"/>
                </a:lnTo>
                <a:lnTo>
                  <a:pt x="312" y="1410"/>
                </a:lnTo>
                <a:lnTo>
                  <a:pt x="306" y="1410"/>
                </a:lnTo>
                <a:lnTo>
                  <a:pt x="300" y="1410"/>
                </a:lnTo>
                <a:lnTo>
                  <a:pt x="300" y="1404"/>
                </a:lnTo>
                <a:lnTo>
                  <a:pt x="294" y="1404"/>
                </a:lnTo>
                <a:lnTo>
                  <a:pt x="288" y="1404"/>
                </a:lnTo>
                <a:lnTo>
                  <a:pt x="282" y="1404"/>
                </a:lnTo>
                <a:lnTo>
                  <a:pt x="276" y="1404"/>
                </a:lnTo>
                <a:lnTo>
                  <a:pt x="270" y="1404"/>
                </a:lnTo>
                <a:lnTo>
                  <a:pt x="270" y="1410"/>
                </a:lnTo>
                <a:lnTo>
                  <a:pt x="270" y="1416"/>
                </a:lnTo>
                <a:lnTo>
                  <a:pt x="264" y="1416"/>
                </a:lnTo>
                <a:lnTo>
                  <a:pt x="264" y="1422"/>
                </a:lnTo>
                <a:lnTo>
                  <a:pt x="258" y="1422"/>
                </a:lnTo>
                <a:lnTo>
                  <a:pt x="258" y="1428"/>
                </a:lnTo>
                <a:lnTo>
                  <a:pt x="252" y="1428"/>
                </a:lnTo>
                <a:lnTo>
                  <a:pt x="246" y="1422"/>
                </a:lnTo>
                <a:lnTo>
                  <a:pt x="240" y="1422"/>
                </a:lnTo>
                <a:lnTo>
                  <a:pt x="234" y="1422"/>
                </a:lnTo>
                <a:lnTo>
                  <a:pt x="234" y="1416"/>
                </a:lnTo>
                <a:lnTo>
                  <a:pt x="228" y="1416"/>
                </a:lnTo>
                <a:lnTo>
                  <a:pt x="228" y="1410"/>
                </a:lnTo>
                <a:lnTo>
                  <a:pt x="222" y="1410"/>
                </a:lnTo>
                <a:lnTo>
                  <a:pt x="216" y="1410"/>
                </a:lnTo>
                <a:lnTo>
                  <a:pt x="210" y="1410"/>
                </a:lnTo>
                <a:lnTo>
                  <a:pt x="204" y="1410"/>
                </a:lnTo>
                <a:lnTo>
                  <a:pt x="198" y="1416"/>
                </a:lnTo>
                <a:lnTo>
                  <a:pt x="198" y="1410"/>
                </a:lnTo>
                <a:lnTo>
                  <a:pt x="198" y="1404"/>
                </a:lnTo>
                <a:lnTo>
                  <a:pt x="204" y="1404"/>
                </a:lnTo>
                <a:lnTo>
                  <a:pt x="204" y="1398"/>
                </a:lnTo>
                <a:lnTo>
                  <a:pt x="210" y="1398"/>
                </a:lnTo>
                <a:lnTo>
                  <a:pt x="210" y="1392"/>
                </a:lnTo>
                <a:lnTo>
                  <a:pt x="210" y="1386"/>
                </a:lnTo>
                <a:lnTo>
                  <a:pt x="216" y="1386"/>
                </a:lnTo>
                <a:lnTo>
                  <a:pt x="216" y="1380"/>
                </a:lnTo>
                <a:lnTo>
                  <a:pt x="210" y="1380"/>
                </a:lnTo>
                <a:lnTo>
                  <a:pt x="210" y="1374"/>
                </a:lnTo>
                <a:lnTo>
                  <a:pt x="210" y="1368"/>
                </a:lnTo>
                <a:lnTo>
                  <a:pt x="204" y="1368"/>
                </a:lnTo>
                <a:lnTo>
                  <a:pt x="210" y="1368"/>
                </a:lnTo>
                <a:lnTo>
                  <a:pt x="210" y="1362"/>
                </a:lnTo>
                <a:lnTo>
                  <a:pt x="210" y="1356"/>
                </a:lnTo>
                <a:lnTo>
                  <a:pt x="210" y="1350"/>
                </a:lnTo>
                <a:lnTo>
                  <a:pt x="204" y="1344"/>
                </a:lnTo>
                <a:lnTo>
                  <a:pt x="204" y="1338"/>
                </a:lnTo>
                <a:lnTo>
                  <a:pt x="198" y="1332"/>
                </a:lnTo>
                <a:lnTo>
                  <a:pt x="198" y="1338"/>
                </a:lnTo>
                <a:lnTo>
                  <a:pt x="192" y="1338"/>
                </a:lnTo>
                <a:lnTo>
                  <a:pt x="186" y="1344"/>
                </a:lnTo>
                <a:lnTo>
                  <a:pt x="186" y="1350"/>
                </a:lnTo>
                <a:lnTo>
                  <a:pt x="180" y="1350"/>
                </a:lnTo>
                <a:lnTo>
                  <a:pt x="174" y="1350"/>
                </a:lnTo>
                <a:lnTo>
                  <a:pt x="168" y="1350"/>
                </a:lnTo>
                <a:lnTo>
                  <a:pt x="162" y="1350"/>
                </a:lnTo>
                <a:lnTo>
                  <a:pt x="156" y="1350"/>
                </a:lnTo>
                <a:lnTo>
                  <a:pt x="150" y="1350"/>
                </a:lnTo>
                <a:lnTo>
                  <a:pt x="150" y="1344"/>
                </a:lnTo>
                <a:lnTo>
                  <a:pt x="144" y="1344"/>
                </a:lnTo>
                <a:lnTo>
                  <a:pt x="144" y="1338"/>
                </a:lnTo>
                <a:lnTo>
                  <a:pt x="138" y="1338"/>
                </a:lnTo>
                <a:lnTo>
                  <a:pt x="144" y="1338"/>
                </a:lnTo>
                <a:lnTo>
                  <a:pt x="138" y="1338"/>
                </a:lnTo>
                <a:lnTo>
                  <a:pt x="132" y="1338"/>
                </a:lnTo>
                <a:lnTo>
                  <a:pt x="132" y="1332"/>
                </a:lnTo>
                <a:lnTo>
                  <a:pt x="132" y="1326"/>
                </a:lnTo>
                <a:lnTo>
                  <a:pt x="126" y="1326"/>
                </a:lnTo>
                <a:lnTo>
                  <a:pt x="126" y="1320"/>
                </a:lnTo>
                <a:lnTo>
                  <a:pt x="126" y="1314"/>
                </a:lnTo>
                <a:lnTo>
                  <a:pt x="126" y="1308"/>
                </a:lnTo>
                <a:lnTo>
                  <a:pt x="132" y="1308"/>
                </a:lnTo>
                <a:lnTo>
                  <a:pt x="138" y="1308"/>
                </a:lnTo>
                <a:lnTo>
                  <a:pt x="138" y="1302"/>
                </a:lnTo>
                <a:lnTo>
                  <a:pt x="138" y="1296"/>
                </a:lnTo>
                <a:lnTo>
                  <a:pt x="144" y="1296"/>
                </a:lnTo>
                <a:lnTo>
                  <a:pt x="144" y="1290"/>
                </a:lnTo>
                <a:lnTo>
                  <a:pt x="138" y="1290"/>
                </a:lnTo>
                <a:lnTo>
                  <a:pt x="138" y="1284"/>
                </a:lnTo>
                <a:lnTo>
                  <a:pt x="132" y="1284"/>
                </a:lnTo>
                <a:lnTo>
                  <a:pt x="132" y="1278"/>
                </a:lnTo>
                <a:lnTo>
                  <a:pt x="126" y="1278"/>
                </a:lnTo>
                <a:lnTo>
                  <a:pt x="126" y="1272"/>
                </a:lnTo>
                <a:lnTo>
                  <a:pt x="120" y="1272"/>
                </a:lnTo>
                <a:lnTo>
                  <a:pt x="114" y="1272"/>
                </a:lnTo>
                <a:lnTo>
                  <a:pt x="108" y="1272"/>
                </a:lnTo>
                <a:lnTo>
                  <a:pt x="108" y="1278"/>
                </a:lnTo>
                <a:lnTo>
                  <a:pt x="108" y="1284"/>
                </a:lnTo>
                <a:lnTo>
                  <a:pt x="102" y="1284"/>
                </a:lnTo>
                <a:lnTo>
                  <a:pt x="96" y="1284"/>
                </a:lnTo>
                <a:lnTo>
                  <a:pt x="96" y="1278"/>
                </a:lnTo>
                <a:lnTo>
                  <a:pt x="90" y="1278"/>
                </a:lnTo>
                <a:lnTo>
                  <a:pt x="84" y="1278"/>
                </a:lnTo>
                <a:lnTo>
                  <a:pt x="84" y="1272"/>
                </a:lnTo>
                <a:lnTo>
                  <a:pt x="78" y="1272"/>
                </a:lnTo>
                <a:lnTo>
                  <a:pt x="72" y="1278"/>
                </a:lnTo>
                <a:lnTo>
                  <a:pt x="72" y="1272"/>
                </a:lnTo>
                <a:lnTo>
                  <a:pt x="72" y="1266"/>
                </a:lnTo>
                <a:lnTo>
                  <a:pt x="66" y="1266"/>
                </a:lnTo>
                <a:lnTo>
                  <a:pt x="60" y="1266"/>
                </a:lnTo>
                <a:lnTo>
                  <a:pt x="60" y="1260"/>
                </a:lnTo>
                <a:lnTo>
                  <a:pt x="60" y="1254"/>
                </a:lnTo>
                <a:lnTo>
                  <a:pt x="66" y="1254"/>
                </a:lnTo>
                <a:lnTo>
                  <a:pt x="66" y="1248"/>
                </a:lnTo>
                <a:lnTo>
                  <a:pt x="66" y="1242"/>
                </a:lnTo>
                <a:lnTo>
                  <a:pt x="72" y="1242"/>
                </a:lnTo>
                <a:lnTo>
                  <a:pt x="78" y="1242"/>
                </a:lnTo>
                <a:lnTo>
                  <a:pt x="78" y="1236"/>
                </a:lnTo>
                <a:lnTo>
                  <a:pt x="78" y="1230"/>
                </a:lnTo>
                <a:lnTo>
                  <a:pt x="78" y="1224"/>
                </a:lnTo>
                <a:lnTo>
                  <a:pt x="84" y="1224"/>
                </a:lnTo>
                <a:lnTo>
                  <a:pt x="84" y="1218"/>
                </a:lnTo>
                <a:lnTo>
                  <a:pt x="78" y="1218"/>
                </a:lnTo>
                <a:lnTo>
                  <a:pt x="78" y="1212"/>
                </a:lnTo>
                <a:lnTo>
                  <a:pt x="72" y="1212"/>
                </a:lnTo>
                <a:lnTo>
                  <a:pt x="66" y="1212"/>
                </a:lnTo>
                <a:lnTo>
                  <a:pt x="66" y="1206"/>
                </a:lnTo>
                <a:lnTo>
                  <a:pt x="66" y="1200"/>
                </a:lnTo>
                <a:lnTo>
                  <a:pt x="66" y="1194"/>
                </a:lnTo>
                <a:lnTo>
                  <a:pt x="66" y="1188"/>
                </a:lnTo>
                <a:lnTo>
                  <a:pt x="66" y="1182"/>
                </a:lnTo>
                <a:lnTo>
                  <a:pt x="60" y="1182"/>
                </a:lnTo>
                <a:lnTo>
                  <a:pt x="60" y="1176"/>
                </a:lnTo>
                <a:lnTo>
                  <a:pt x="60" y="1170"/>
                </a:lnTo>
                <a:lnTo>
                  <a:pt x="66" y="1164"/>
                </a:lnTo>
                <a:lnTo>
                  <a:pt x="60" y="1158"/>
                </a:lnTo>
                <a:lnTo>
                  <a:pt x="60" y="1152"/>
                </a:lnTo>
                <a:lnTo>
                  <a:pt x="60" y="1146"/>
                </a:lnTo>
                <a:lnTo>
                  <a:pt x="60" y="1140"/>
                </a:lnTo>
                <a:lnTo>
                  <a:pt x="60" y="1134"/>
                </a:lnTo>
                <a:lnTo>
                  <a:pt x="66" y="1128"/>
                </a:lnTo>
                <a:lnTo>
                  <a:pt x="66" y="1122"/>
                </a:lnTo>
                <a:lnTo>
                  <a:pt x="72" y="1122"/>
                </a:lnTo>
                <a:lnTo>
                  <a:pt x="72" y="1116"/>
                </a:lnTo>
                <a:lnTo>
                  <a:pt x="66" y="1110"/>
                </a:lnTo>
                <a:lnTo>
                  <a:pt x="72" y="1110"/>
                </a:lnTo>
                <a:lnTo>
                  <a:pt x="72" y="1104"/>
                </a:lnTo>
                <a:lnTo>
                  <a:pt x="72" y="1098"/>
                </a:lnTo>
                <a:lnTo>
                  <a:pt x="72" y="1092"/>
                </a:lnTo>
                <a:lnTo>
                  <a:pt x="72" y="1086"/>
                </a:lnTo>
                <a:lnTo>
                  <a:pt x="66" y="1086"/>
                </a:lnTo>
                <a:lnTo>
                  <a:pt x="66" y="1080"/>
                </a:lnTo>
                <a:lnTo>
                  <a:pt x="72" y="1080"/>
                </a:lnTo>
                <a:lnTo>
                  <a:pt x="72" y="1074"/>
                </a:lnTo>
                <a:lnTo>
                  <a:pt x="66" y="1074"/>
                </a:lnTo>
                <a:lnTo>
                  <a:pt x="66" y="1068"/>
                </a:lnTo>
                <a:lnTo>
                  <a:pt x="66" y="1062"/>
                </a:lnTo>
                <a:lnTo>
                  <a:pt x="72" y="1062"/>
                </a:lnTo>
                <a:lnTo>
                  <a:pt x="66" y="1062"/>
                </a:lnTo>
                <a:lnTo>
                  <a:pt x="66" y="1056"/>
                </a:lnTo>
                <a:lnTo>
                  <a:pt x="72" y="1056"/>
                </a:lnTo>
                <a:lnTo>
                  <a:pt x="72" y="1050"/>
                </a:lnTo>
                <a:lnTo>
                  <a:pt x="72" y="1044"/>
                </a:lnTo>
                <a:lnTo>
                  <a:pt x="72" y="1038"/>
                </a:lnTo>
                <a:lnTo>
                  <a:pt x="72" y="1032"/>
                </a:lnTo>
                <a:lnTo>
                  <a:pt x="66" y="1032"/>
                </a:lnTo>
                <a:lnTo>
                  <a:pt x="60" y="1032"/>
                </a:lnTo>
                <a:lnTo>
                  <a:pt x="54" y="1026"/>
                </a:lnTo>
                <a:lnTo>
                  <a:pt x="48" y="1026"/>
                </a:lnTo>
                <a:lnTo>
                  <a:pt x="42" y="1026"/>
                </a:lnTo>
                <a:lnTo>
                  <a:pt x="42" y="1020"/>
                </a:lnTo>
                <a:lnTo>
                  <a:pt x="36" y="1014"/>
                </a:lnTo>
                <a:lnTo>
                  <a:pt x="36" y="1008"/>
                </a:lnTo>
                <a:lnTo>
                  <a:pt x="30" y="1008"/>
                </a:lnTo>
                <a:lnTo>
                  <a:pt x="30" y="1002"/>
                </a:lnTo>
                <a:lnTo>
                  <a:pt x="24" y="1002"/>
                </a:lnTo>
                <a:lnTo>
                  <a:pt x="24" y="996"/>
                </a:lnTo>
                <a:lnTo>
                  <a:pt x="30" y="996"/>
                </a:lnTo>
                <a:lnTo>
                  <a:pt x="30" y="990"/>
                </a:lnTo>
                <a:lnTo>
                  <a:pt x="36" y="990"/>
                </a:lnTo>
                <a:lnTo>
                  <a:pt x="36" y="996"/>
                </a:lnTo>
                <a:lnTo>
                  <a:pt x="36" y="1002"/>
                </a:lnTo>
                <a:lnTo>
                  <a:pt x="42" y="1002"/>
                </a:lnTo>
                <a:lnTo>
                  <a:pt x="48" y="1002"/>
                </a:lnTo>
                <a:lnTo>
                  <a:pt x="54" y="1002"/>
                </a:lnTo>
                <a:lnTo>
                  <a:pt x="60" y="1002"/>
                </a:lnTo>
                <a:lnTo>
                  <a:pt x="60" y="996"/>
                </a:lnTo>
                <a:lnTo>
                  <a:pt x="66" y="996"/>
                </a:lnTo>
                <a:lnTo>
                  <a:pt x="66" y="990"/>
                </a:lnTo>
                <a:lnTo>
                  <a:pt x="66" y="984"/>
                </a:lnTo>
                <a:lnTo>
                  <a:pt x="60" y="978"/>
                </a:lnTo>
                <a:lnTo>
                  <a:pt x="60" y="972"/>
                </a:lnTo>
                <a:lnTo>
                  <a:pt x="54" y="972"/>
                </a:lnTo>
                <a:lnTo>
                  <a:pt x="60" y="972"/>
                </a:lnTo>
                <a:lnTo>
                  <a:pt x="60" y="978"/>
                </a:lnTo>
                <a:lnTo>
                  <a:pt x="60" y="972"/>
                </a:lnTo>
                <a:lnTo>
                  <a:pt x="60" y="966"/>
                </a:lnTo>
                <a:lnTo>
                  <a:pt x="60" y="960"/>
                </a:lnTo>
                <a:lnTo>
                  <a:pt x="54" y="954"/>
                </a:lnTo>
                <a:lnTo>
                  <a:pt x="48" y="948"/>
                </a:lnTo>
                <a:lnTo>
                  <a:pt x="54" y="948"/>
                </a:lnTo>
                <a:lnTo>
                  <a:pt x="54" y="942"/>
                </a:lnTo>
                <a:lnTo>
                  <a:pt x="48" y="942"/>
                </a:lnTo>
                <a:lnTo>
                  <a:pt x="42" y="942"/>
                </a:lnTo>
                <a:lnTo>
                  <a:pt x="42" y="936"/>
                </a:lnTo>
                <a:lnTo>
                  <a:pt x="36" y="936"/>
                </a:lnTo>
                <a:lnTo>
                  <a:pt x="36" y="930"/>
                </a:lnTo>
                <a:lnTo>
                  <a:pt x="30" y="930"/>
                </a:lnTo>
                <a:lnTo>
                  <a:pt x="36" y="924"/>
                </a:lnTo>
                <a:lnTo>
                  <a:pt x="42" y="924"/>
                </a:lnTo>
                <a:lnTo>
                  <a:pt x="42" y="918"/>
                </a:lnTo>
                <a:lnTo>
                  <a:pt x="42" y="912"/>
                </a:lnTo>
                <a:lnTo>
                  <a:pt x="36" y="912"/>
                </a:lnTo>
                <a:lnTo>
                  <a:pt x="36" y="906"/>
                </a:lnTo>
                <a:lnTo>
                  <a:pt x="30" y="906"/>
                </a:lnTo>
                <a:lnTo>
                  <a:pt x="30" y="900"/>
                </a:lnTo>
                <a:lnTo>
                  <a:pt x="24" y="900"/>
                </a:lnTo>
                <a:lnTo>
                  <a:pt x="24" y="894"/>
                </a:lnTo>
                <a:lnTo>
                  <a:pt x="24" y="888"/>
                </a:lnTo>
                <a:lnTo>
                  <a:pt x="30" y="888"/>
                </a:lnTo>
                <a:lnTo>
                  <a:pt x="30" y="882"/>
                </a:lnTo>
                <a:lnTo>
                  <a:pt x="24" y="882"/>
                </a:lnTo>
                <a:lnTo>
                  <a:pt x="18" y="882"/>
                </a:lnTo>
                <a:lnTo>
                  <a:pt x="12" y="876"/>
                </a:lnTo>
                <a:lnTo>
                  <a:pt x="12" y="870"/>
                </a:lnTo>
                <a:lnTo>
                  <a:pt x="6" y="870"/>
                </a:lnTo>
                <a:lnTo>
                  <a:pt x="6" y="864"/>
                </a:lnTo>
                <a:lnTo>
                  <a:pt x="6" y="858"/>
                </a:lnTo>
                <a:lnTo>
                  <a:pt x="12" y="858"/>
                </a:lnTo>
                <a:lnTo>
                  <a:pt x="6" y="858"/>
                </a:lnTo>
                <a:lnTo>
                  <a:pt x="6" y="852"/>
                </a:lnTo>
                <a:lnTo>
                  <a:pt x="6" y="846"/>
                </a:lnTo>
                <a:lnTo>
                  <a:pt x="0" y="846"/>
                </a:lnTo>
                <a:lnTo>
                  <a:pt x="0" y="840"/>
                </a:lnTo>
                <a:lnTo>
                  <a:pt x="0" y="834"/>
                </a:lnTo>
                <a:lnTo>
                  <a:pt x="0" y="828"/>
                </a:lnTo>
                <a:lnTo>
                  <a:pt x="6" y="828"/>
                </a:lnTo>
                <a:lnTo>
                  <a:pt x="12" y="822"/>
                </a:lnTo>
                <a:lnTo>
                  <a:pt x="12" y="816"/>
                </a:lnTo>
                <a:lnTo>
                  <a:pt x="6" y="810"/>
                </a:lnTo>
                <a:lnTo>
                  <a:pt x="6" y="804"/>
                </a:lnTo>
                <a:lnTo>
                  <a:pt x="6" y="798"/>
                </a:lnTo>
                <a:lnTo>
                  <a:pt x="6" y="792"/>
                </a:lnTo>
                <a:lnTo>
                  <a:pt x="0" y="792"/>
                </a:lnTo>
                <a:lnTo>
                  <a:pt x="6" y="792"/>
                </a:lnTo>
                <a:lnTo>
                  <a:pt x="12" y="792"/>
                </a:lnTo>
                <a:lnTo>
                  <a:pt x="18" y="792"/>
                </a:lnTo>
                <a:lnTo>
                  <a:pt x="24" y="792"/>
                </a:lnTo>
                <a:lnTo>
                  <a:pt x="30" y="792"/>
                </a:lnTo>
                <a:lnTo>
                  <a:pt x="30" y="786"/>
                </a:lnTo>
                <a:lnTo>
                  <a:pt x="36" y="786"/>
                </a:lnTo>
                <a:lnTo>
                  <a:pt x="42" y="786"/>
                </a:lnTo>
                <a:lnTo>
                  <a:pt x="48" y="786"/>
                </a:lnTo>
                <a:lnTo>
                  <a:pt x="54" y="786"/>
                </a:lnTo>
                <a:lnTo>
                  <a:pt x="54" y="780"/>
                </a:lnTo>
                <a:lnTo>
                  <a:pt x="60" y="780"/>
                </a:lnTo>
                <a:lnTo>
                  <a:pt x="60" y="774"/>
                </a:lnTo>
                <a:lnTo>
                  <a:pt x="66" y="774"/>
                </a:lnTo>
                <a:lnTo>
                  <a:pt x="72" y="768"/>
                </a:lnTo>
                <a:lnTo>
                  <a:pt x="72" y="762"/>
                </a:lnTo>
                <a:lnTo>
                  <a:pt x="72" y="756"/>
                </a:lnTo>
                <a:lnTo>
                  <a:pt x="72" y="750"/>
                </a:lnTo>
                <a:lnTo>
                  <a:pt x="72" y="744"/>
                </a:lnTo>
                <a:lnTo>
                  <a:pt x="66" y="744"/>
                </a:lnTo>
                <a:lnTo>
                  <a:pt x="66" y="738"/>
                </a:lnTo>
                <a:lnTo>
                  <a:pt x="66" y="732"/>
                </a:lnTo>
                <a:lnTo>
                  <a:pt x="60" y="732"/>
                </a:lnTo>
                <a:lnTo>
                  <a:pt x="60" y="726"/>
                </a:lnTo>
                <a:lnTo>
                  <a:pt x="60" y="720"/>
                </a:lnTo>
                <a:lnTo>
                  <a:pt x="66" y="720"/>
                </a:lnTo>
                <a:lnTo>
                  <a:pt x="60" y="714"/>
                </a:lnTo>
                <a:lnTo>
                  <a:pt x="60" y="708"/>
                </a:lnTo>
                <a:lnTo>
                  <a:pt x="54" y="708"/>
                </a:lnTo>
                <a:lnTo>
                  <a:pt x="48" y="708"/>
                </a:lnTo>
                <a:lnTo>
                  <a:pt x="42" y="708"/>
                </a:lnTo>
                <a:lnTo>
                  <a:pt x="42" y="702"/>
                </a:lnTo>
                <a:lnTo>
                  <a:pt x="42" y="696"/>
                </a:lnTo>
                <a:lnTo>
                  <a:pt x="48" y="690"/>
                </a:lnTo>
                <a:lnTo>
                  <a:pt x="42" y="690"/>
                </a:lnTo>
                <a:lnTo>
                  <a:pt x="42" y="684"/>
                </a:lnTo>
                <a:lnTo>
                  <a:pt x="48" y="684"/>
                </a:lnTo>
                <a:lnTo>
                  <a:pt x="48" y="678"/>
                </a:lnTo>
                <a:lnTo>
                  <a:pt x="54" y="684"/>
                </a:lnTo>
                <a:lnTo>
                  <a:pt x="60" y="684"/>
                </a:lnTo>
                <a:lnTo>
                  <a:pt x="66" y="678"/>
                </a:lnTo>
                <a:lnTo>
                  <a:pt x="66" y="672"/>
                </a:lnTo>
                <a:lnTo>
                  <a:pt x="66" y="666"/>
                </a:lnTo>
                <a:lnTo>
                  <a:pt x="72" y="666"/>
                </a:lnTo>
                <a:lnTo>
                  <a:pt x="78" y="666"/>
                </a:lnTo>
                <a:lnTo>
                  <a:pt x="78" y="660"/>
                </a:lnTo>
                <a:lnTo>
                  <a:pt x="72" y="660"/>
                </a:lnTo>
                <a:lnTo>
                  <a:pt x="72" y="654"/>
                </a:lnTo>
                <a:lnTo>
                  <a:pt x="78" y="654"/>
                </a:lnTo>
                <a:lnTo>
                  <a:pt x="78" y="648"/>
                </a:lnTo>
                <a:lnTo>
                  <a:pt x="78" y="642"/>
                </a:lnTo>
                <a:lnTo>
                  <a:pt x="72" y="636"/>
                </a:lnTo>
                <a:lnTo>
                  <a:pt x="72" y="630"/>
                </a:lnTo>
                <a:lnTo>
                  <a:pt x="72" y="624"/>
                </a:lnTo>
                <a:lnTo>
                  <a:pt x="78" y="624"/>
                </a:lnTo>
                <a:lnTo>
                  <a:pt x="72" y="624"/>
                </a:lnTo>
                <a:lnTo>
                  <a:pt x="78" y="618"/>
                </a:lnTo>
                <a:lnTo>
                  <a:pt x="72" y="618"/>
                </a:lnTo>
                <a:lnTo>
                  <a:pt x="72" y="612"/>
                </a:lnTo>
                <a:lnTo>
                  <a:pt x="72" y="606"/>
                </a:lnTo>
                <a:lnTo>
                  <a:pt x="72" y="600"/>
                </a:lnTo>
                <a:lnTo>
                  <a:pt x="66" y="600"/>
                </a:lnTo>
                <a:lnTo>
                  <a:pt x="66" y="594"/>
                </a:lnTo>
                <a:lnTo>
                  <a:pt x="66" y="588"/>
                </a:lnTo>
                <a:lnTo>
                  <a:pt x="60" y="582"/>
                </a:lnTo>
                <a:lnTo>
                  <a:pt x="60" y="576"/>
                </a:lnTo>
                <a:lnTo>
                  <a:pt x="60" y="582"/>
                </a:lnTo>
                <a:lnTo>
                  <a:pt x="60" y="576"/>
                </a:lnTo>
                <a:lnTo>
                  <a:pt x="54" y="576"/>
                </a:lnTo>
                <a:lnTo>
                  <a:pt x="60" y="576"/>
                </a:lnTo>
                <a:lnTo>
                  <a:pt x="60" y="570"/>
                </a:lnTo>
                <a:lnTo>
                  <a:pt x="54" y="570"/>
                </a:lnTo>
                <a:lnTo>
                  <a:pt x="60" y="570"/>
                </a:lnTo>
                <a:lnTo>
                  <a:pt x="60" y="564"/>
                </a:lnTo>
                <a:lnTo>
                  <a:pt x="54" y="564"/>
                </a:lnTo>
                <a:lnTo>
                  <a:pt x="60" y="564"/>
                </a:lnTo>
                <a:lnTo>
                  <a:pt x="54" y="564"/>
                </a:lnTo>
                <a:lnTo>
                  <a:pt x="54" y="558"/>
                </a:lnTo>
                <a:lnTo>
                  <a:pt x="54" y="552"/>
                </a:lnTo>
                <a:lnTo>
                  <a:pt x="60" y="552"/>
                </a:lnTo>
                <a:lnTo>
                  <a:pt x="60" y="546"/>
                </a:lnTo>
                <a:lnTo>
                  <a:pt x="60" y="540"/>
                </a:lnTo>
                <a:lnTo>
                  <a:pt x="54" y="540"/>
                </a:lnTo>
                <a:lnTo>
                  <a:pt x="54" y="534"/>
                </a:lnTo>
                <a:lnTo>
                  <a:pt x="54" y="528"/>
                </a:lnTo>
                <a:lnTo>
                  <a:pt x="54" y="522"/>
                </a:lnTo>
                <a:lnTo>
                  <a:pt x="60" y="522"/>
                </a:lnTo>
                <a:lnTo>
                  <a:pt x="66" y="522"/>
                </a:lnTo>
                <a:lnTo>
                  <a:pt x="72" y="522"/>
                </a:lnTo>
                <a:lnTo>
                  <a:pt x="78" y="522"/>
                </a:lnTo>
                <a:lnTo>
                  <a:pt x="84" y="528"/>
                </a:lnTo>
                <a:lnTo>
                  <a:pt x="84" y="522"/>
                </a:lnTo>
                <a:lnTo>
                  <a:pt x="90" y="522"/>
                </a:lnTo>
                <a:lnTo>
                  <a:pt x="90" y="528"/>
                </a:lnTo>
                <a:lnTo>
                  <a:pt x="96" y="528"/>
                </a:lnTo>
                <a:lnTo>
                  <a:pt x="102" y="528"/>
                </a:lnTo>
                <a:lnTo>
                  <a:pt x="102" y="534"/>
                </a:lnTo>
                <a:lnTo>
                  <a:pt x="108" y="534"/>
                </a:lnTo>
                <a:lnTo>
                  <a:pt x="114" y="534"/>
                </a:lnTo>
                <a:lnTo>
                  <a:pt x="120" y="534"/>
                </a:lnTo>
                <a:lnTo>
                  <a:pt x="126" y="534"/>
                </a:lnTo>
                <a:lnTo>
                  <a:pt x="132" y="534"/>
                </a:lnTo>
                <a:lnTo>
                  <a:pt x="138" y="540"/>
                </a:lnTo>
                <a:lnTo>
                  <a:pt x="144" y="540"/>
                </a:lnTo>
                <a:lnTo>
                  <a:pt x="144" y="534"/>
                </a:lnTo>
                <a:lnTo>
                  <a:pt x="150" y="534"/>
                </a:lnTo>
                <a:lnTo>
                  <a:pt x="150" y="528"/>
                </a:lnTo>
                <a:lnTo>
                  <a:pt x="156" y="528"/>
                </a:lnTo>
                <a:lnTo>
                  <a:pt x="156" y="522"/>
                </a:lnTo>
                <a:lnTo>
                  <a:pt x="162" y="522"/>
                </a:lnTo>
                <a:lnTo>
                  <a:pt x="168" y="516"/>
                </a:lnTo>
                <a:lnTo>
                  <a:pt x="174" y="516"/>
                </a:lnTo>
                <a:lnTo>
                  <a:pt x="180" y="516"/>
                </a:lnTo>
                <a:lnTo>
                  <a:pt x="186" y="510"/>
                </a:lnTo>
                <a:lnTo>
                  <a:pt x="192" y="510"/>
                </a:lnTo>
                <a:lnTo>
                  <a:pt x="192" y="504"/>
                </a:lnTo>
                <a:lnTo>
                  <a:pt x="198" y="504"/>
                </a:lnTo>
                <a:lnTo>
                  <a:pt x="204" y="504"/>
                </a:lnTo>
                <a:lnTo>
                  <a:pt x="210" y="504"/>
                </a:lnTo>
                <a:lnTo>
                  <a:pt x="210" y="510"/>
                </a:lnTo>
                <a:lnTo>
                  <a:pt x="216" y="510"/>
                </a:lnTo>
                <a:lnTo>
                  <a:pt x="222" y="510"/>
                </a:lnTo>
                <a:lnTo>
                  <a:pt x="222" y="504"/>
                </a:lnTo>
                <a:lnTo>
                  <a:pt x="222" y="498"/>
                </a:lnTo>
                <a:lnTo>
                  <a:pt x="228" y="498"/>
                </a:lnTo>
                <a:lnTo>
                  <a:pt x="228" y="492"/>
                </a:lnTo>
                <a:lnTo>
                  <a:pt x="234" y="492"/>
                </a:lnTo>
                <a:lnTo>
                  <a:pt x="234" y="486"/>
                </a:lnTo>
                <a:lnTo>
                  <a:pt x="240" y="486"/>
                </a:lnTo>
                <a:lnTo>
                  <a:pt x="240" y="480"/>
                </a:lnTo>
                <a:lnTo>
                  <a:pt x="240" y="474"/>
                </a:lnTo>
                <a:lnTo>
                  <a:pt x="240" y="468"/>
                </a:lnTo>
                <a:lnTo>
                  <a:pt x="240" y="462"/>
                </a:lnTo>
                <a:lnTo>
                  <a:pt x="234" y="462"/>
                </a:lnTo>
                <a:lnTo>
                  <a:pt x="234" y="456"/>
                </a:lnTo>
                <a:lnTo>
                  <a:pt x="234" y="450"/>
                </a:lnTo>
                <a:lnTo>
                  <a:pt x="240" y="450"/>
                </a:lnTo>
                <a:lnTo>
                  <a:pt x="240" y="444"/>
                </a:lnTo>
                <a:lnTo>
                  <a:pt x="240" y="438"/>
                </a:lnTo>
                <a:lnTo>
                  <a:pt x="246" y="438"/>
                </a:lnTo>
                <a:lnTo>
                  <a:pt x="252" y="438"/>
                </a:lnTo>
                <a:lnTo>
                  <a:pt x="252" y="432"/>
                </a:lnTo>
                <a:lnTo>
                  <a:pt x="252" y="426"/>
                </a:lnTo>
                <a:lnTo>
                  <a:pt x="252" y="420"/>
                </a:lnTo>
                <a:lnTo>
                  <a:pt x="252" y="414"/>
                </a:lnTo>
                <a:lnTo>
                  <a:pt x="252" y="408"/>
                </a:lnTo>
                <a:lnTo>
                  <a:pt x="258" y="408"/>
                </a:lnTo>
                <a:lnTo>
                  <a:pt x="264" y="408"/>
                </a:lnTo>
                <a:lnTo>
                  <a:pt x="264" y="414"/>
                </a:lnTo>
                <a:lnTo>
                  <a:pt x="270" y="414"/>
                </a:lnTo>
                <a:lnTo>
                  <a:pt x="270" y="420"/>
                </a:lnTo>
                <a:lnTo>
                  <a:pt x="270" y="414"/>
                </a:lnTo>
                <a:lnTo>
                  <a:pt x="276" y="414"/>
                </a:lnTo>
                <a:lnTo>
                  <a:pt x="276" y="408"/>
                </a:lnTo>
                <a:lnTo>
                  <a:pt x="282" y="408"/>
                </a:lnTo>
                <a:lnTo>
                  <a:pt x="282" y="402"/>
                </a:lnTo>
                <a:lnTo>
                  <a:pt x="288" y="402"/>
                </a:lnTo>
                <a:lnTo>
                  <a:pt x="294" y="402"/>
                </a:lnTo>
                <a:lnTo>
                  <a:pt x="300" y="402"/>
                </a:lnTo>
                <a:lnTo>
                  <a:pt x="300" y="396"/>
                </a:lnTo>
                <a:lnTo>
                  <a:pt x="306" y="396"/>
                </a:lnTo>
                <a:lnTo>
                  <a:pt x="306" y="390"/>
                </a:lnTo>
                <a:lnTo>
                  <a:pt x="306" y="384"/>
                </a:lnTo>
                <a:lnTo>
                  <a:pt x="312" y="384"/>
                </a:lnTo>
                <a:lnTo>
                  <a:pt x="312" y="378"/>
                </a:lnTo>
                <a:lnTo>
                  <a:pt x="312" y="372"/>
                </a:lnTo>
                <a:lnTo>
                  <a:pt x="312" y="366"/>
                </a:lnTo>
                <a:lnTo>
                  <a:pt x="312" y="360"/>
                </a:lnTo>
                <a:lnTo>
                  <a:pt x="318" y="360"/>
                </a:lnTo>
                <a:lnTo>
                  <a:pt x="324" y="360"/>
                </a:lnTo>
                <a:lnTo>
                  <a:pt x="324" y="354"/>
                </a:lnTo>
                <a:lnTo>
                  <a:pt x="324" y="348"/>
                </a:lnTo>
                <a:lnTo>
                  <a:pt x="330" y="348"/>
                </a:lnTo>
                <a:lnTo>
                  <a:pt x="336" y="348"/>
                </a:lnTo>
                <a:lnTo>
                  <a:pt x="342" y="348"/>
                </a:lnTo>
                <a:lnTo>
                  <a:pt x="348" y="348"/>
                </a:lnTo>
                <a:lnTo>
                  <a:pt x="348" y="354"/>
                </a:lnTo>
                <a:lnTo>
                  <a:pt x="348" y="360"/>
                </a:lnTo>
                <a:lnTo>
                  <a:pt x="354" y="360"/>
                </a:lnTo>
                <a:lnTo>
                  <a:pt x="360" y="360"/>
                </a:lnTo>
                <a:lnTo>
                  <a:pt x="366" y="360"/>
                </a:lnTo>
                <a:lnTo>
                  <a:pt x="360" y="354"/>
                </a:lnTo>
                <a:lnTo>
                  <a:pt x="360" y="348"/>
                </a:lnTo>
                <a:lnTo>
                  <a:pt x="354" y="348"/>
                </a:lnTo>
                <a:lnTo>
                  <a:pt x="354" y="342"/>
                </a:lnTo>
                <a:lnTo>
                  <a:pt x="354" y="336"/>
                </a:lnTo>
                <a:lnTo>
                  <a:pt x="360" y="330"/>
                </a:lnTo>
                <a:lnTo>
                  <a:pt x="360" y="324"/>
                </a:lnTo>
                <a:lnTo>
                  <a:pt x="360" y="318"/>
                </a:lnTo>
                <a:lnTo>
                  <a:pt x="366" y="318"/>
                </a:lnTo>
                <a:lnTo>
                  <a:pt x="366" y="312"/>
                </a:lnTo>
                <a:lnTo>
                  <a:pt x="366" y="306"/>
                </a:lnTo>
                <a:lnTo>
                  <a:pt x="372" y="306"/>
                </a:lnTo>
                <a:lnTo>
                  <a:pt x="372" y="300"/>
                </a:lnTo>
                <a:lnTo>
                  <a:pt x="378" y="300"/>
                </a:lnTo>
                <a:lnTo>
                  <a:pt x="384" y="300"/>
                </a:lnTo>
                <a:lnTo>
                  <a:pt x="384" y="294"/>
                </a:lnTo>
                <a:lnTo>
                  <a:pt x="390" y="294"/>
                </a:lnTo>
                <a:lnTo>
                  <a:pt x="384" y="294"/>
                </a:lnTo>
                <a:lnTo>
                  <a:pt x="384" y="288"/>
                </a:lnTo>
                <a:lnTo>
                  <a:pt x="378" y="288"/>
                </a:lnTo>
                <a:lnTo>
                  <a:pt x="378" y="282"/>
                </a:lnTo>
                <a:lnTo>
                  <a:pt x="372" y="282"/>
                </a:lnTo>
                <a:lnTo>
                  <a:pt x="366" y="282"/>
                </a:lnTo>
                <a:lnTo>
                  <a:pt x="360" y="282"/>
                </a:lnTo>
                <a:lnTo>
                  <a:pt x="360" y="276"/>
                </a:lnTo>
                <a:lnTo>
                  <a:pt x="354" y="276"/>
                </a:lnTo>
                <a:lnTo>
                  <a:pt x="354" y="270"/>
                </a:lnTo>
                <a:lnTo>
                  <a:pt x="348" y="270"/>
                </a:lnTo>
                <a:lnTo>
                  <a:pt x="348" y="264"/>
                </a:lnTo>
                <a:lnTo>
                  <a:pt x="348" y="258"/>
                </a:lnTo>
                <a:lnTo>
                  <a:pt x="342" y="258"/>
                </a:lnTo>
                <a:lnTo>
                  <a:pt x="336" y="258"/>
                </a:lnTo>
                <a:lnTo>
                  <a:pt x="330" y="258"/>
                </a:lnTo>
                <a:lnTo>
                  <a:pt x="324" y="258"/>
                </a:lnTo>
                <a:lnTo>
                  <a:pt x="324" y="252"/>
                </a:lnTo>
                <a:lnTo>
                  <a:pt x="324" y="246"/>
                </a:lnTo>
                <a:lnTo>
                  <a:pt x="324" y="252"/>
                </a:lnTo>
                <a:lnTo>
                  <a:pt x="318" y="252"/>
                </a:lnTo>
                <a:lnTo>
                  <a:pt x="312" y="252"/>
                </a:lnTo>
                <a:lnTo>
                  <a:pt x="306" y="252"/>
                </a:lnTo>
                <a:lnTo>
                  <a:pt x="306" y="246"/>
                </a:lnTo>
                <a:lnTo>
                  <a:pt x="300" y="246"/>
                </a:lnTo>
                <a:lnTo>
                  <a:pt x="294" y="240"/>
                </a:lnTo>
                <a:lnTo>
                  <a:pt x="294" y="234"/>
                </a:lnTo>
                <a:lnTo>
                  <a:pt x="288" y="234"/>
                </a:lnTo>
                <a:lnTo>
                  <a:pt x="282" y="234"/>
                </a:lnTo>
                <a:lnTo>
                  <a:pt x="282" y="228"/>
                </a:lnTo>
                <a:lnTo>
                  <a:pt x="282" y="234"/>
                </a:lnTo>
                <a:lnTo>
                  <a:pt x="276" y="234"/>
                </a:lnTo>
                <a:lnTo>
                  <a:pt x="276" y="228"/>
                </a:lnTo>
                <a:lnTo>
                  <a:pt x="276" y="222"/>
                </a:lnTo>
                <a:lnTo>
                  <a:pt x="270" y="222"/>
                </a:lnTo>
                <a:lnTo>
                  <a:pt x="270" y="216"/>
                </a:lnTo>
                <a:lnTo>
                  <a:pt x="270" y="222"/>
                </a:lnTo>
                <a:lnTo>
                  <a:pt x="270" y="216"/>
                </a:lnTo>
                <a:lnTo>
                  <a:pt x="270" y="210"/>
                </a:lnTo>
                <a:lnTo>
                  <a:pt x="264" y="210"/>
                </a:lnTo>
                <a:lnTo>
                  <a:pt x="264" y="204"/>
                </a:lnTo>
                <a:lnTo>
                  <a:pt x="258" y="186"/>
                </a:lnTo>
                <a:lnTo>
                  <a:pt x="258" y="180"/>
                </a:lnTo>
                <a:lnTo>
                  <a:pt x="264" y="180"/>
                </a:lnTo>
                <a:lnTo>
                  <a:pt x="264" y="174"/>
                </a:lnTo>
                <a:lnTo>
                  <a:pt x="264" y="180"/>
                </a:lnTo>
                <a:lnTo>
                  <a:pt x="264" y="174"/>
                </a:lnTo>
                <a:lnTo>
                  <a:pt x="258" y="174"/>
                </a:lnTo>
                <a:lnTo>
                  <a:pt x="258" y="180"/>
                </a:lnTo>
                <a:lnTo>
                  <a:pt x="252" y="180"/>
                </a:lnTo>
                <a:lnTo>
                  <a:pt x="252" y="174"/>
                </a:lnTo>
                <a:lnTo>
                  <a:pt x="252" y="168"/>
                </a:lnTo>
                <a:lnTo>
                  <a:pt x="252" y="162"/>
                </a:lnTo>
                <a:lnTo>
                  <a:pt x="258" y="150"/>
                </a:lnTo>
                <a:lnTo>
                  <a:pt x="264" y="150"/>
                </a:lnTo>
                <a:lnTo>
                  <a:pt x="264" y="156"/>
                </a:lnTo>
                <a:lnTo>
                  <a:pt x="270" y="156"/>
                </a:lnTo>
                <a:lnTo>
                  <a:pt x="276" y="162"/>
                </a:lnTo>
                <a:lnTo>
                  <a:pt x="282" y="162"/>
                </a:lnTo>
                <a:lnTo>
                  <a:pt x="288" y="162"/>
                </a:lnTo>
                <a:lnTo>
                  <a:pt x="288" y="156"/>
                </a:lnTo>
                <a:lnTo>
                  <a:pt x="294" y="156"/>
                </a:lnTo>
                <a:lnTo>
                  <a:pt x="300" y="156"/>
                </a:lnTo>
                <a:lnTo>
                  <a:pt x="306" y="156"/>
                </a:lnTo>
                <a:lnTo>
                  <a:pt x="312" y="156"/>
                </a:lnTo>
                <a:lnTo>
                  <a:pt x="318" y="156"/>
                </a:lnTo>
                <a:lnTo>
                  <a:pt x="318" y="150"/>
                </a:lnTo>
                <a:lnTo>
                  <a:pt x="324" y="150"/>
                </a:lnTo>
                <a:lnTo>
                  <a:pt x="330" y="150"/>
                </a:lnTo>
                <a:lnTo>
                  <a:pt x="336" y="150"/>
                </a:lnTo>
                <a:lnTo>
                  <a:pt x="336" y="144"/>
                </a:lnTo>
                <a:lnTo>
                  <a:pt x="342" y="144"/>
                </a:lnTo>
                <a:lnTo>
                  <a:pt x="348" y="144"/>
                </a:lnTo>
                <a:lnTo>
                  <a:pt x="354" y="138"/>
                </a:lnTo>
                <a:lnTo>
                  <a:pt x="354" y="132"/>
                </a:lnTo>
                <a:lnTo>
                  <a:pt x="360" y="132"/>
                </a:lnTo>
                <a:lnTo>
                  <a:pt x="360" y="126"/>
                </a:lnTo>
                <a:lnTo>
                  <a:pt x="366" y="120"/>
                </a:lnTo>
                <a:lnTo>
                  <a:pt x="372" y="120"/>
                </a:lnTo>
                <a:lnTo>
                  <a:pt x="378" y="120"/>
                </a:lnTo>
                <a:lnTo>
                  <a:pt x="378" y="114"/>
                </a:lnTo>
                <a:lnTo>
                  <a:pt x="384" y="114"/>
                </a:lnTo>
                <a:lnTo>
                  <a:pt x="384" y="108"/>
                </a:lnTo>
                <a:lnTo>
                  <a:pt x="378" y="108"/>
                </a:lnTo>
                <a:lnTo>
                  <a:pt x="378" y="102"/>
                </a:lnTo>
                <a:lnTo>
                  <a:pt x="378" y="96"/>
                </a:lnTo>
                <a:lnTo>
                  <a:pt x="378" y="90"/>
                </a:lnTo>
                <a:lnTo>
                  <a:pt x="378" y="84"/>
                </a:lnTo>
                <a:lnTo>
                  <a:pt x="378" y="78"/>
                </a:lnTo>
                <a:lnTo>
                  <a:pt x="384" y="72"/>
                </a:lnTo>
                <a:lnTo>
                  <a:pt x="384" y="78"/>
                </a:lnTo>
                <a:lnTo>
                  <a:pt x="384" y="72"/>
                </a:lnTo>
                <a:lnTo>
                  <a:pt x="384" y="66"/>
                </a:lnTo>
                <a:lnTo>
                  <a:pt x="384" y="60"/>
                </a:lnTo>
                <a:lnTo>
                  <a:pt x="384" y="54"/>
                </a:lnTo>
                <a:lnTo>
                  <a:pt x="384" y="48"/>
                </a:lnTo>
                <a:lnTo>
                  <a:pt x="390" y="42"/>
                </a:lnTo>
                <a:lnTo>
                  <a:pt x="390" y="36"/>
                </a:lnTo>
                <a:lnTo>
                  <a:pt x="396" y="36"/>
                </a:lnTo>
                <a:lnTo>
                  <a:pt x="396" y="30"/>
                </a:lnTo>
                <a:lnTo>
                  <a:pt x="402" y="30"/>
                </a:lnTo>
                <a:lnTo>
                  <a:pt x="408" y="30"/>
                </a:lnTo>
                <a:lnTo>
                  <a:pt x="414" y="30"/>
                </a:lnTo>
                <a:lnTo>
                  <a:pt x="414" y="24"/>
                </a:lnTo>
                <a:lnTo>
                  <a:pt x="414" y="18"/>
                </a:lnTo>
                <a:lnTo>
                  <a:pt x="420" y="18"/>
                </a:lnTo>
                <a:lnTo>
                  <a:pt x="426" y="24"/>
                </a:lnTo>
                <a:lnTo>
                  <a:pt x="432" y="24"/>
                </a:lnTo>
                <a:lnTo>
                  <a:pt x="432" y="18"/>
                </a:lnTo>
                <a:lnTo>
                  <a:pt x="432" y="12"/>
                </a:lnTo>
                <a:lnTo>
                  <a:pt x="438" y="12"/>
                </a:lnTo>
                <a:lnTo>
                  <a:pt x="438" y="6"/>
                </a:lnTo>
                <a:lnTo>
                  <a:pt x="444" y="6"/>
                </a:lnTo>
                <a:lnTo>
                  <a:pt x="450" y="6"/>
                </a:lnTo>
                <a:lnTo>
                  <a:pt x="450" y="0"/>
                </a:lnTo>
                <a:lnTo>
                  <a:pt x="450" y="6"/>
                </a:lnTo>
                <a:lnTo>
                  <a:pt x="450" y="12"/>
                </a:lnTo>
                <a:lnTo>
                  <a:pt x="456" y="12"/>
                </a:lnTo>
                <a:lnTo>
                  <a:pt x="456" y="18"/>
                </a:lnTo>
                <a:lnTo>
                  <a:pt x="456" y="24"/>
                </a:lnTo>
                <a:lnTo>
                  <a:pt x="456" y="30"/>
                </a:lnTo>
                <a:lnTo>
                  <a:pt x="462" y="30"/>
                </a:lnTo>
                <a:lnTo>
                  <a:pt x="462" y="36"/>
                </a:lnTo>
                <a:lnTo>
                  <a:pt x="462" y="42"/>
                </a:lnTo>
                <a:lnTo>
                  <a:pt x="468" y="42"/>
                </a:lnTo>
                <a:lnTo>
                  <a:pt x="468" y="48"/>
                </a:lnTo>
                <a:lnTo>
                  <a:pt x="474" y="48"/>
                </a:lnTo>
                <a:lnTo>
                  <a:pt x="474" y="54"/>
                </a:lnTo>
                <a:lnTo>
                  <a:pt x="480" y="54"/>
                </a:lnTo>
                <a:lnTo>
                  <a:pt x="480" y="60"/>
                </a:lnTo>
                <a:lnTo>
                  <a:pt x="480" y="66"/>
                </a:lnTo>
                <a:lnTo>
                  <a:pt x="480" y="72"/>
                </a:lnTo>
                <a:lnTo>
                  <a:pt x="486" y="72"/>
                </a:lnTo>
                <a:lnTo>
                  <a:pt x="486" y="78"/>
                </a:lnTo>
                <a:lnTo>
                  <a:pt x="486" y="84"/>
                </a:lnTo>
                <a:lnTo>
                  <a:pt x="486" y="90"/>
                </a:lnTo>
                <a:lnTo>
                  <a:pt x="492" y="90"/>
                </a:lnTo>
                <a:lnTo>
                  <a:pt x="492" y="84"/>
                </a:lnTo>
                <a:lnTo>
                  <a:pt x="498" y="84"/>
                </a:lnTo>
                <a:lnTo>
                  <a:pt x="498" y="78"/>
                </a:lnTo>
                <a:lnTo>
                  <a:pt x="504" y="78"/>
                </a:lnTo>
                <a:lnTo>
                  <a:pt x="510" y="78"/>
                </a:lnTo>
                <a:lnTo>
                  <a:pt x="510" y="84"/>
                </a:lnTo>
                <a:lnTo>
                  <a:pt x="510" y="90"/>
                </a:lnTo>
                <a:lnTo>
                  <a:pt x="510" y="96"/>
                </a:lnTo>
                <a:lnTo>
                  <a:pt x="510" y="102"/>
                </a:lnTo>
                <a:lnTo>
                  <a:pt x="504" y="102"/>
                </a:lnTo>
                <a:lnTo>
                  <a:pt x="510" y="102"/>
                </a:lnTo>
                <a:lnTo>
                  <a:pt x="510" y="108"/>
                </a:lnTo>
                <a:lnTo>
                  <a:pt x="516" y="108"/>
                </a:lnTo>
                <a:lnTo>
                  <a:pt x="516" y="102"/>
                </a:lnTo>
                <a:lnTo>
                  <a:pt x="522" y="102"/>
                </a:lnTo>
                <a:lnTo>
                  <a:pt x="522" y="108"/>
                </a:lnTo>
                <a:lnTo>
                  <a:pt x="528" y="108"/>
                </a:lnTo>
                <a:lnTo>
                  <a:pt x="534" y="102"/>
                </a:lnTo>
                <a:lnTo>
                  <a:pt x="540" y="102"/>
                </a:lnTo>
                <a:lnTo>
                  <a:pt x="540" y="96"/>
                </a:lnTo>
                <a:lnTo>
                  <a:pt x="546" y="96"/>
                </a:lnTo>
                <a:lnTo>
                  <a:pt x="546" y="90"/>
                </a:lnTo>
                <a:lnTo>
                  <a:pt x="552" y="90"/>
                </a:lnTo>
                <a:lnTo>
                  <a:pt x="552" y="84"/>
                </a:lnTo>
                <a:lnTo>
                  <a:pt x="558" y="84"/>
                </a:lnTo>
                <a:lnTo>
                  <a:pt x="564" y="84"/>
                </a:lnTo>
                <a:lnTo>
                  <a:pt x="570" y="84"/>
                </a:lnTo>
                <a:lnTo>
                  <a:pt x="576" y="84"/>
                </a:lnTo>
                <a:lnTo>
                  <a:pt x="576" y="90"/>
                </a:lnTo>
                <a:lnTo>
                  <a:pt x="582" y="90"/>
                </a:lnTo>
                <a:lnTo>
                  <a:pt x="588" y="90"/>
                </a:lnTo>
                <a:lnTo>
                  <a:pt x="594" y="84"/>
                </a:lnTo>
                <a:lnTo>
                  <a:pt x="600" y="84"/>
                </a:lnTo>
                <a:lnTo>
                  <a:pt x="606" y="84"/>
                </a:lnTo>
                <a:lnTo>
                  <a:pt x="612" y="84"/>
                </a:lnTo>
                <a:lnTo>
                  <a:pt x="618" y="84"/>
                </a:lnTo>
                <a:lnTo>
                  <a:pt x="624" y="84"/>
                </a:lnTo>
                <a:lnTo>
                  <a:pt x="630" y="84"/>
                </a:lnTo>
                <a:lnTo>
                  <a:pt x="630" y="78"/>
                </a:lnTo>
                <a:lnTo>
                  <a:pt x="636" y="78"/>
                </a:lnTo>
                <a:lnTo>
                  <a:pt x="642" y="78"/>
                </a:lnTo>
                <a:lnTo>
                  <a:pt x="642" y="84"/>
                </a:lnTo>
                <a:lnTo>
                  <a:pt x="648" y="84"/>
                </a:lnTo>
                <a:lnTo>
                  <a:pt x="654" y="84"/>
                </a:lnTo>
                <a:lnTo>
                  <a:pt x="654" y="90"/>
                </a:lnTo>
                <a:lnTo>
                  <a:pt x="654" y="96"/>
                </a:lnTo>
                <a:lnTo>
                  <a:pt x="660" y="96"/>
                </a:lnTo>
                <a:lnTo>
                  <a:pt x="660" y="102"/>
                </a:lnTo>
                <a:lnTo>
                  <a:pt x="666" y="108"/>
                </a:lnTo>
                <a:lnTo>
                  <a:pt x="672" y="108"/>
                </a:lnTo>
                <a:lnTo>
                  <a:pt x="678" y="108"/>
                </a:lnTo>
                <a:lnTo>
                  <a:pt x="684" y="108"/>
                </a:lnTo>
                <a:lnTo>
                  <a:pt x="690" y="108"/>
                </a:lnTo>
                <a:lnTo>
                  <a:pt x="696" y="10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9" name="Freeform 15">
            <a:extLst>
              <a:ext uri="{FF2B5EF4-FFF2-40B4-BE49-F238E27FC236}">
                <a16:creationId xmlns:a16="http://schemas.microsoft.com/office/drawing/2014/main" id="{EAD7599E-8773-4F9F-A579-FF889F38C68C}"/>
              </a:ext>
            </a:extLst>
          </p:cNvPr>
          <p:cNvSpPr>
            <a:spLocks/>
          </p:cNvSpPr>
          <p:nvPr/>
        </p:nvSpPr>
        <p:spPr bwMode="gray">
          <a:xfrm rot="533595">
            <a:off x="5509579" y="3471643"/>
            <a:ext cx="1104891" cy="995554"/>
          </a:xfrm>
          <a:custGeom>
            <a:avLst/>
            <a:gdLst>
              <a:gd name="T0" fmla="*/ 1128 w 1218"/>
              <a:gd name="T1" fmla="*/ 804 h 1176"/>
              <a:gd name="T2" fmla="*/ 1074 w 1218"/>
              <a:gd name="T3" fmla="*/ 816 h 1176"/>
              <a:gd name="T4" fmla="*/ 1056 w 1218"/>
              <a:gd name="T5" fmla="*/ 864 h 1176"/>
              <a:gd name="T6" fmla="*/ 984 w 1218"/>
              <a:gd name="T7" fmla="*/ 888 h 1176"/>
              <a:gd name="T8" fmla="*/ 960 w 1218"/>
              <a:gd name="T9" fmla="*/ 918 h 1176"/>
              <a:gd name="T10" fmla="*/ 996 w 1218"/>
              <a:gd name="T11" fmla="*/ 984 h 1176"/>
              <a:gd name="T12" fmla="*/ 978 w 1218"/>
              <a:gd name="T13" fmla="*/ 1056 h 1176"/>
              <a:gd name="T14" fmla="*/ 912 w 1218"/>
              <a:gd name="T15" fmla="*/ 1008 h 1176"/>
              <a:gd name="T16" fmla="*/ 912 w 1218"/>
              <a:gd name="T17" fmla="*/ 1098 h 1176"/>
              <a:gd name="T18" fmla="*/ 864 w 1218"/>
              <a:gd name="T19" fmla="*/ 1158 h 1176"/>
              <a:gd name="T20" fmla="*/ 798 w 1218"/>
              <a:gd name="T21" fmla="*/ 1152 h 1176"/>
              <a:gd name="T22" fmla="*/ 732 w 1218"/>
              <a:gd name="T23" fmla="*/ 1158 h 1176"/>
              <a:gd name="T24" fmla="*/ 690 w 1218"/>
              <a:gd name="T25" fmla="*/ 1092 h 1176"/>
              <a:gd name="T26" fmla="*/ 642 w 1218"/>
              <a:gd name="T27" fmla="*/ 1050 h 1176"/>
              <a:gd name="T28" fmla="*/ 606 w 1218"/>
              <a:gd name="T29" fmla="*/ 1098 h 1176"/>
              <a:gd name="T30" fmla="*/ 540 w 1218"/>
              <a:gd name="T31" fmla="*/ 1086 h 1176"/>
              <a:gd name="T32" fmla="*/ 486 w 1218"/>
              <a:gd name="T33" fmla="*/ 1050 h 1176"/>
              <a:gd name="T34" fmla="*/ 414 w 1218"/>
              <a:gd name="T35" fmla="*/ 1050 h 1176"/>
              <a:gd name="T36" fmla="*/ 324 w 1218"/>
              <a:gd name="T37" fmla="*/ 1074 h 1176"/>
              <a:gd name="T38" fmla="*/ 258 w 1218"/>
              <a:gd name="T39" fmla="*/ 1038 h 1176"/>
              <a:gd name="T40" fmla="*/ 222 w 1218"/>
              <a:gd name="T41" fmla="*/ 1050 h 1176"/>
              <a:gd name="T42" fmla="*/ 132 w 1218"/>
              <a:gd name="T43" fmla="*/ 1032 h 1176"/>
              <a:gd name="T44" fmla="*/ 60 w 1218"/>
              <a:gd name="T45" fmla="*/ 996 h 1176"/>
              <a:gd name="T46" fmla="*/ 30 w 1218"/>
              <a:gd name="T47" fmla="*/ 948 h 1176"/>
              <a:gd name="T48" fmla="*/ 6 w 1218"/>
              <a:gd name="T49" fmla="*/ 888 h 1176"/>
              <a:gd name="T50" fmla="*/ 54 w 1218"/>
              <a:gd name="T51" fmla="*/ 846 h 1176"/>
              <a:gd name="T52" fmla="*/ 84 w 1218"/>
              <a:gd name="T53" fmla="*/ 804 h 1176"/>
              <a:gd name="T54" fmla="*/ 138 w 1218"/>
              <a:gd name="T55" fmla="*/ 750 h 1176"/>
              <a:gd name="T56" fmla="*/ 132 w 1218"/>
              <a:gd name="T57" fmla="*/ 672 h 1176"/>
              <a:gd name="T58" fmla="*/ 108 w 1218"/>
              <a:gd name="T59" fmla="*/ 618 h 1176"/>
              <a:gd name="T60" fmla="*/ 132 w 1218"/>
              <a:gd name="T61" fmla="*/ 546 h 1176"/>
              <a:gd name="T62" fmla="*/ 144 w 1218"/>
              <a:gd name="T63" fmla="*/ 480 h 1176"/>
              <a:gd name="T64" fmla="*/ 216 w 1218"/>
              <a:gd name="T65" fmla="*/ 474 h 1176"/>
              <a:gd name="T66" fmla="*/ 270 w 1218"/>
              <a:gd name="T67" fmla="*/ 432 h 1176"/>
              <a:gd name="T68" fmla="*/ 264 w 1218"/>
              <a:gd name="T69" fmla="*/ 360 h 1176"/>
              <a:gd name="T70" fmla="*/ 258 w 1218"/>
              <a:gd name="T71" fmla="*/ 282 h 1176"/>
              <a:gd name="T72" fmla="*/ 336 w 1218"/>
              <a:gd name="T73" fmla="*/ 264 h 1176"/>
              <a:gd name="T74" fmla="*/ 336 w 1218"/>
              <a:gd name="T75" fmla="*/ 198 h 1176"/>
              <a:gd name="T76" fmla="*/ 402 w 1218"/>
              <a:gd name="T77" fmla="*/ 156 h 1176"/>
              <a:gd name="T78" fmla="*/ 402 w 1218"/>
              <a:gd name="T79" fmla="*/ 96 h 1176"/>
              <a:gd name="T80" fmla="*/ 402 w 1218"/>
              <a:gd name="T81" fmla="*/ 48 h 1176"/>
              <a:gd name="T82" fmla="*/ 462 w 1218"/>
              <a:gd name="T83" fmla="*/ 30 h 1176"/>
              <a:gd name="T84" fmla="*/ 510 w 1218"/>
              <a:gd name="T85" fmla="*/ 24 h 1176"/>
              <a:gd name="T86" fmla="*/ 582 w 1218"/>
              <a:gd name="T87" fmla="*/ 30 h 1176"/>
              <a:gd name="T88" fmla="*/ 666 w 1218"/>
              <a:gd name="T89" fmla="*/ 72 h 1176"/>
              <a:gd name="T90" fmla="*/ 732 w 1218"/>
              <a:gd name="T91" fmla="*/ 66 h 1176"/>
              <a:gd name="T92" fmla="*/ 792 w 1218"/>
              <a:gd name="T93" fmla="*/ 30 h 1176"/>
              <a:gd name="T94" fmla="*/ 882 w 1218"/>
              <a:gd name="T95" fmla="*/ 78 h 1176"/>
              <a:gd name="T96" fmla="*/ 924 w 1218"/>
              <a:gd name="T97" fmla="*/ 132 h 1176"/>
              <a:gd name="T98" fmla="*/ 984 w 1218"/>
              <a:gd name="T99" fmla="*/ 198 h 1176"/>
              <a:gd name="T100" fmla="*/ 1002 w 1218"/>
              <a:gd name="T101" fmla="*/ 264 h 1176"/>
              <a:gd name="T102" fmla="*/ 1020 w 1218"/>
              <a:gd name="T103" fmla="*/ 306 h 1176"/>
              <a:gd name="T104" fmla="*/ 1074 w 1218"/>
              <a:gd name="T105" fmla="*/ 276 h 1176"/>
              <a:gd name="T106" fmla="*/ 1140 w 1218"/>
              <a:gd name="T107" fmla="*/ 306 h 1176"/>
              <a:gd name="T108" fmla="*/ 1170 w 1218"/>
              <a:gd name="T109" fmla="*/ 360 h 1176"/>
              <a:gd name="T110" fmla="*/ 1188 w 1218"/>
              <a:gd name="T111" fmla="*/ 420 h 1176"/>
              <a:gd name="T112" fmla="*/ 1188 w 1218"/>
              <a:gd name="T113" fmla="*/ 486 h 1176"/>
              <a:gd name="T114" fmla="*/ 1110 w 1218"/>
              <a:gd name="T115" fmla="*/ 480 h 1176"/>
              <a:gd name="T116" fmla="*/ 1122 w 1218"/>
              <a:gd name="T117" fmla="*/ 540 h 1176"/>
              <a:gd name="T118" fmla="*/ 1176 w 1218"/>
              <a:gd name="T119" fmla="*/ 606 h 1176"/>
              <a:gd name="T120" fmla="*/ 1146 w 1218"/>
              <a:gd name="T121" fmla="*/ 696 h 117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218" h="1176">
                <a:moveTo>
                  <a:pt x="1152" y="738"/>
                </a:moveTo>
                <a:lnTo>
                  <a:pt x="1152" y="744"/>
                </a:lnTo>
                <a:lnTo>
                  <a:pt x="1146" y="744"/>
                </a:lnTo>
                <a:lnTo>
                  <a:pt x="1146" y="750"/>
                </a:lnTo>
                <a:lnTo>
                  <a:pt x="1140" y="750"/>
                </a:lnTo>
                <a:lnTo>
                  <a:pt x="1140" y="756"/>
                </a:lnTo>
                <a:lnTo>
                  <a:pt x="1146" y="756"/>
                </a:lnTo>
                <a:lnTo>
                  <a:pt x="1140" y="756"/>
                </a:lnTo>
                <a:lnTo>
                  <a:pt x="1140" y="762"/>
                </a:lnTo>
                <a:lnTo>
                  <a:pt x="1134" y="762"/>
                </a:lnTo>
                <a:lnTo>
                  <a:pt x="1128" y="762"/>
                </a:lnTo>
                <a:lnTo>
                  <a:pt x="1128" y="768"/>
                </a:lnTo>
                <a:lnTo>
                  <a:pt x="1122" y="768"/>
                </a:lnTo>
                <a:lnTo>
                  <a:pt x="1122" y="774"/>
                </a:lnTo>
                <a:lnTo>
                  <a:pt x="1128" y="780"/>
                </a:lnTo>
                <a:lnTo>
                  <a:pt x="1128" y="786"/>
                </a:lnTo>
                <a:lnTo>
                  <a:pt x="1134" y="792"/>
                </a:lnTo>
                <a:lnTo>
                  <a:pt x="1140" y="798"/>
                </a:lnTo>
                <a:lnTo>
                  <a:pt x="1134" y="798"/>
                </a:lnTo>
                <a:lnTo>
                  <a:pt x="1128" y="804"/>
                </a:lnTo>
                <a:lnTo>
                  <a:pt x="1134" y="804"/>
                </a:lnTo>
                <a:lnTo>
                  <a:pt x="1134" y="810"/>
                </a:lnTo>
                <a:lnTo>
                  <a:pt x="1134" y="816"/>
                </a:lnTo>
                <a:lnTo>
                  <a:pt x="1134" y="822"/>
                </a:lnTo>
                <a:lnTo>
                  <a:pt x="1134" y="828"/>
                </a:lnTo>
                <a:lnTo>
                  <a:pt x="1128" y="828"/>
                </a:lnTo>
                <a:lnTo>
                  <a:pt x="1128" y="822"/>
                </a:lnTo>
                <a:lnTo>
                  <a:pt x="1122" y="816"/>
                </a:lnTo>
                <a:lnTo>
                  <a:pt x="1116" y="816"/>
                </a:lnTo>
                <a:lnTo>
                  <a:pt x="1110" y="810"/>
                </a:lnTo>
                <a:lnTo>
                  <a:pt x="1110" y="816"/>
                </a:lnTo>
                <a:lnTo>
                  <a:pt x="1110" y="822"/>
                </a:lnTo>
                <a:lnTo>
                  <a:pt x="1104" y="822"/>
                </a:lnTo>
                <a:lnTo>
                  <a:pt x="1104" y="828"/>
                </a:lnTo>
                <a:lnTo>
                  <a:pt x="1098" y="828"/>
                </a:lnTo>
                <a:lnTo>
                  <a:pt x="1092" y="828"/>
                </a:lnTo>
                <a:lnTo>
                  <a:pt x="1086" y="828"/>
                </a:lnTo>
                <a:lnTo>
                  <a:pt x="1080" y="828"/>
                </a:lnTo>
                <a:lnTo>
                  <a:pt x="1080" y="822"/>
                </a:lnTo>
                <a:lnTo>
                  <a:pt x="1074" y="816"/>
                </a:lnTo>
                <a:lnTo>
                  <a:pt x="1068" y="816"/>
                </a:lnTo>
                <a:lnTo>
                  <a:pt x="1068" y="822"/>
                </a:lnTo>
                <a:lnTo>
                  <a:pt x="1068" y="828"/>
                </a:lnTo>
                <a:lnTo>
                  <a:pt x="1068" y="834"/>
                </a:lnTo>
                <a:lnTo>
                  <a:pt x="1074" y="834"/>
                </a:lnTo>
                <a:lnTo>
                  <a:pt x="1080" y="834"/>
                </a:lnTo>
                <a:lnTo>
                  <a:pt x="1080" y="840"/>
                </a:lnTo>
                <a:lnTo>
                  <a:pt x="1074" y="840"/>
                </a:lnTo>
                <a:lnTo>
                  <a:pt x="1074" y="846"/>
                </a:lnTo>
                <a:lnTo>
                  <a:pt x="1080" y="846"/>
                </a:lnTo>
                <a:lnTo>
                  <a:pt x="1080" y="852"/>
                </a:lnTo>
                <a:lnTo>
                  <a:pt x="1080" y="858"/>
                </a:lnTo>
                <a:lnTo>
                  <a:pt x="1074" y="858"/>
                </a:lnTo>
                <a:lnTo>
                  <a:pt x="1068" y="864"/>
                </a:lnTo>
                <a:lnTo>
                  <a:pt x="1062" y="864"/>
                </a:lnTo>
                <a:lnTo>
                  <a:pt x="1062" y="858"/>
                </a:lnTo>
                <a:lnTo>
                  <a:pt x="1056" y="858"/>
                </a:lnTo>
                <a:lnTo>
                  <a:pt x="1056" y="864"/>
                </a:lnTo>
                <a:lnTo>
                  <a:pt x="1062" y="864"/>
                </a:lnTo>
                <a:lnTo>
                  <a:pt x="1056" y="864"/>
                </a:lnTo>
                <a:lnTo>
                  <a:pt x="1056" y="870"/>
                </a:lnTo>
                <a:lnTo>
                  <a:pt x="1050" y="870"/>
                </a:lnTo>
                <a:lnTo>
                  <a:pt x="1050" y="864"/>
                </a:lnTo>
                <a:lnTo>
                  <a:pt x="1050" y="870"/>
                </a:lnTo>
                <a:lnTo>
                  <a:pt x="1044" y="870"/>
                </a:lnTo>
                <a:lnTo>
                  <a:pt x="1038" y="870"/>
                </a:lnTo>
                <a:lnTo>
                  <a:pt x="1038" y="876"/>
                </a:lnTo>
                <a:lnTo>
                  <a:pt x="1032" y="876"/>
                </a:lnTo>
                <a:lnTo>
                  <a:pt x="1026" y="876"/>
                </a:lnTo>
                <a:lnTo>
                  <a:pt x="1020" y="876"/>
                </a:lnTo>
                <a:lnTo>
                  <a:pt x="1020" y="882"/>
                </a:lnTo>
                <a:lnTo>
                  <a:pt x="1014" y="882"/>
                </a:lnTo>
                <a:lnTo>
                  <a:pt x="1014" y="876"/>
                </a:lnTo>
                <a:lnTo>
                  <a:pt x="1008" y="876"/>
                </a:lnTo>
                <a:lnTo>
                  <a:pt x="1008" y="882"/>
                </a:lnTo>
                <a:lnTo>
                  <a:pt x="1002" y="882"/>
                </a:lnTo>
                <a:lnTo>
                  <a:pt x="996" y="882"/>
                </a:lnTo>
                <a:lnTo>
                  <a:pt x="990" y="882"/>
                </a:lnTo>
                <a:lnTo>
                  <a:pt x="984" y="882"/>
                </a:lnTo>
                <a:lnTo>
                  <a:pt x="984" y="888"/>
                </a:lnTo>
                <a:lnTo>
                  <a:pt x="984" y="882"/>
                </a:lnTo>
                <a:lnTo>
                  <a:pt x="990" y="882"/>
                </a:lnTo>
                <a:lnTo>
                  <a:pt x="990" y="876"/>
                </a:lnTo>
                <a:lnTo>
                  <a:pt x="984" y="876"/>
                </a:lnTo>
                <a:lnTo>
                  <a:pt x="978" y="876"/>
                </a:lnTo>
                <a:lnTo>
                  <a:pt x="972" y="876"/>
                </a:lnTo>
                <a:lnTo>
                  <a:pt x="966" y="876"/>
                </a:lnTo>
                <a:lnTo>
                  <a:pt x="966" y="882"/>
                </a:lnTo>
                <a:lnTo>
                  <a:pt x="960" y="882"/>
                </a:lnTo>
                <a:lnTo>
                  <a:pt x="960" y="888"/>
                </a:lnTo>
                <a:lnTo>
                  <a:pt x="960" y="894"/>
                </a:lnTo>
                <a:lnTo>
                  <a:pt x="954" y="894"/>
                </a:lnTo>
                <a:lnTo>
                  <a:pt x="960" y="894"/>
                </a:lnTo>
                <a:lnTo>
                  <a:pt x="960" y="900"/>
                </a:lnTo>
                <a:lnTo>
                  <a:pt x="966" y="900"/>
                </a:lnTo>
                <a:lnTo>
                  <a:pt x="972" y="906"/>
                </a:lnTo>
                <a:lnTo>
                  <a:pt x="972" y="912"/>
                </a:lnTo>
                <a:lnTo>
                  <a:pt x="966" y="912"/>
                </a:lnTo>
                <a:lnTo>
                  <a:pt x="966" y="918"/>
                </a:lnTo>
                <a:lnTo>
                  <a:pt x="960" y="918"/>
                </a:lnTo>
                <a:lnTo>
                  <a:pt x="960" y="924"/>
                </a:lnTo>
                <a:lnTo>
                  <a:pt x="954" y="924"/>
                </a:lnTo>
                <a:lnTo>
                  <a:pt x="954" y="930"/>
                </a:lnTo>
                <a:lnTo>
                  <a:pt x="954" y="936"/>
                </a:lnTo>
                <a:lnTo>
                  <a:pt x="954" y="942"/>
                </a:lnTo>
                <a:lnTo>
                  <a:pt x="954" y="948"/>
                </a:lnTo>
                <a:lnTo>
                  <a:pt x="960" y="948"/>
                </a:lnTo>
                <a:lnTo>
                  <a:pt x="960" y="954"/>
                </a:lnTo>
                <a:lnTo>
                  <a:pt x="966" y="954"/>
                </a:lnTo>
                <a:lnTo>
                  <a:pt x="960" y="960"/>
                </a:lnTo>
                <a:lnTo>
                  <a:pt x="960" y="966"/>
                </a:lnTo>
                <a:lnTo>
                  <a:pt x="960" y="972"/>
                </a:lnTo>
                <a:lnTo>
                  <a:pt x="960" y="978"/>
                </a:lnTo>
                <a:lnTo>
                  <a:pt x="966" y="978"/>
                </a:lnTo>
                <a:lnTo>
                  <a:pt x="972" y="978"/>
                </a:lnTo>
                <a:lnTo>
                  <a:pt x="978" y="978"/>
                </a:lnTo>
                <a:lnTo>
                  <a:pt x="984" y="978"/>
                </a:lnTo>
                <a:lnTo>
                  <a:pt x="990" y="978"/>
                </a:lnTo>
                <a:lnTo>
                  <a:pt x="990" y="984"/>
                </a:lnTo>
                <a:lnTo>
                  <a:pt x="996" y="984"/>
                </a:lnTo>
                <a:lnTo>
                  <a:pt x="996" y="978"/>
                </a:lnTo>
                <a:lnTo>
                  <a:pt x="996" y="984"/>
                </a:lnTo>
                <a:lnTo>
                  <a:pt x="996" y="990"/>
                </a:lnTo>
                <a:lnTo>
                  <a:pt x="996" y="996"/>
                </a:lnTo>
                <a:lnTo>
                  <a:pt x="996" y="1002"/>
                </a:lnTo>
                <a:lnTo>
                  <a:pt x="996" y="1008"/>
                </a:lnTo>
                <a:lnTo>
                  <a:pt x="996" y="1014"/>
                </a:lnTo>
                <a:lnTo>
                  <a:pt x="996" y="1020"/>
                </a:lnTo>
                <a:lnTo>
                  <a:pt x="996" y="1026"/>
                </a:lnTo>
                <a:lnTo>
                  <a:pt x="996" y="1032"/>
                </a:lnTo>
                <a:lnTo>
                  <a:pt x="990" y="1032"/>
                </a:lnTo>
                <a:lnTo>
                  <a:pt x="990" y="1038"/>
                </a:lnTo>
                <a:lnTo>
                  <a:pt x="996" y="1038"/>
                </a:lnTo>
                <a:lnTo>
                  <a:pt x="996" y="1044"/>
                </a:lnTo>
                <a:lnTo>
                  <a:pt x="996" y="1050"/>
                </a:lnTo>
                <a:lnTo>
                  <a:pt x="990" y="1056"/>
                </a:lnTo>
                <a:lnTo>
                  <a:pt x="990" y="1062"/>
                </a:lnTo>
                <a:lnTo>
                  <a:pt x="984" y="1062"/>
                </a:lnTo>
                <a:lnTo>
                  <a:pt x="978" y="1062"/>
                </a:lnTo>
                <a:lnTo>
                  <a:pt x="978" y="1056"/>
                </a:lnTo>
                <a:lnTo>
                  <a:pt x="972" y="1056"/>
                </a:lnTo>
                <a:lnTo>
                  <a:pt x="972" y="1050"/>
                </a:lnTo>
                <a:lnTo>
                  <a:pt x="966" y="1050"/>
                </a:lnTo>
                <a:lnTo>
                  <a:pt x="960" y="1050"/>
                </a:lnTo>
                <a:lnTo>
                  <a:pt x="960" y="1044"/>
                </a:lnTo>
                <a:lnTo>
                  <a:pt x="954" y="1044"/>
                </a:lnTo>
                <a:lnTo>
                  <a:pt x="954" y="1038"/>
                </a:lnTo>
                <a:lnTo>
                  <a:pt x="954" y="1032"/>
                </a:lnTo>
                <a:lnTo>
                  <a:pt x="954" y="1026"/>
                </a:lnTo>
                <a:lnTo>
                  <a:pt x="948" y="1026"/>
                </a:lnTo>
                <a:lnTo>
                  <a:pt x="948" y="1032"/>
                </a:lnTo>
                <a:lnTo>
                  <a:pt x="942" y="1032"/>
                </a:lnTo>
                <a:lnTo>
                  <a:pt x="942" y="1026"/>
                </a:lnTo>
                <a:lnTo>
                  <a:pt x="942" y="1020"/>
                </a:lnTo>
                <a:lnTo>
                  <a:pt x="936" y="1020"/>
                </a:lnTo>
                <a:lnTo>
                  <a:pt x="930" y="1020"/>
                </a:lnTo>
                <a:lnTo>
                  <a:pt x="924" y="1020"/>
                </a:lnTo>
                <a:lnTo>
                  <a:pt x="918" y="1014"/>
                </a:lnTo>
                <a:lnTo>
                  <a:pt x="918" y="1008"/>
                </a:lnTo>
                <a:lnTo>
                  <a:pt x="912" y="1008"/>
                </a:lnTo>
                <a:lnTo>
                  <a:pt x="912" y="1014"/>
                </a:lnTo>
                <a:lnTo>
                  <a:pt x="906" y="1014"/>
                </a:lnTo>
                <a:lnTo>
                  <a:pt x="906" y="1020"/>
                </a:lnTo>
                <a:lnTo>
                  <a:pt x="906" y="1026"/>
                </a:lnTo>
                <a:lnTo>
                  <a:pt x="912" y="1026"/>
                </a:lnTo>
                <a:lnTo>
                  <a:pt x="906" y="1032"/>
                </a:lnTo>
                <a:lnTo>
                  <a:pt x="906" y="1038"/>
                </a:lnTo>
                <a:lnTo>
                  <a:pt x="912" y="1038"/>
                </a:lnTo>
                <a:lnTo>
                  <a:pt x="906" y="1044"/>
                </a:lnTo>
                <a:lnTo>
                  <a:pt x="906" y="1050"/>
                </a:lnTo>
                <a:lnTo>
                  <a:pt x="900" y="1056"/>
                </a:lnTo>
                <a:lnTo>
                  <a:pt x="900" y="1062"/>
                </a:lnTo>
                <a:lnTo>
                  <a:pt x="900" y="1068"/>
                </a:lnTo>
                <a:lnTo>
                  <a:pt x="900" y="1074"/>
                </a:lnTo>
                <a:lnTo>
                  <a:pt x="900" y="1080"/>
                </a:lnTo>
                <a:lnTo>
                  <a:pt x="906" y="1080"/>
                </a:lnTo>
                <a:lnTo>
                  <a:pt x="906" y="1086"/>
                </a:lnTo>
                <a:lnTo>
                  <a:pt x="906" y="1092"/>
                </a:lnTo>
                <a:lnTo>
                  <a:pt x="912" y="1092"/>
                </a:lnTo>
                <a:lnTo>
                  <a:pt x="912" y="1098"/>
                </a:lnTo>
                <a:lnTo>
                  <a:pt x="912" y="1104"/>
                </a:lnTo>
                <a:lnTo>
                  <a:pt x="906" y="1104"/>
                </a:lnTo>
                <a:lnTo>
                  <a:pt x="906" y="1110"/>
                </a:lnTo>
                <a:lnTo>
                  <a:pt x="900" y="1110"/>
                </a:lnTo>
                <a:lnTo>
                  <a:pt x="900" y="1116"/>
                </a:lnTo>
                <a:lnTo>
                  <a:pt x="894" y="1122"/>
                </a:lnTo>
                <a:lnTo>
                  <a:pt x="894" y="1116"/>
                </a:lnTo>
                <a:lnTo>
                  <a:pt x="888" y="1116"/>
                </a:lnTo>
                <a:lnTo>
                  <a:pt x="888" y="1122"/>
                </a:lnTo>
                <a:lnTo>
                  <a:pt x="882" y="1128"/>
                </a:lnTo>
                <a:lnTo>
                  <a:pt x="888" y="1128"/>
                </a:lnTo>
                <a:lnTo>
                  <a:pt x="882" y="1128"/>
                </a:lnTo>
                <a:lnTo>
                  <a:pt x="882" y="1134"/>
                </a:lnTo>
                <a:lnTo>
                  <a:pt x="882" y="1140"/>
                </a:lnTo>
                <a:lnTo>
                  <a:pt x="882" y="1146"/>
                </a:lnTo>
                <a:lnTo>
                  <a:pt x="876" y="1146"/>
                </a:lnTo>
                <a:lnTo>
                  <a:pt x="876" y="1152"/>
                </a:lnTo>
                <a:lnTo>
                  <a:pt x="870" y="1152"/>
                </a:lnTo>
                <a:lnTo>
                  <a:pt x="870" y="1158"/>
                </a:lnTo>
                <a:lnTo>
                  <a:pt x="864" y="1158"/>
                </a:lnTo>
                <a:lnTo>
                  <a:pt x="870" y="1164"/>
                </a:lnTo>
                <a:lnTo>
                  <a:pt x="864" y="1164"/>
                </a:lnTo>
                <a:lnTo>
                  <a:pt x="864" y="1170"/>
                </a:lnTo>
                <a:lnTo>
                  <a:pt x="858" y="1170"/>
                </a:lnTo>
                <a:lnTo>
                  <a:pt x="858" y="1176"/>
                </a:lnTo>
                <a:lnTo>
                  <a:pt x="852" y="1176"/>
                </a:lnTo>
                <a:lnTo>
                  <a:pt x="846" y="1176"/>
                </a:lnTo>
                <a:lnTo>
                  <a:pt x="840" y="1176"/>
                </a:lnTo>
                <a:lnTo>
                  <a:pt x="834" y="1176"/>
                </a:lnTo>
                <a:lnTo>
                  <a:pt x="828" y="1170"/>
                </a:lnTo>
                <a:lnTo>
                  <a:pt x="828" y="1164"/>
                </a:lnTo>
                <a:lnTo>
                  <a:pt x="828" y="1158"/>
                </a:lnTo>
                <a:lnTo>
                  <a:pt x="822" y="1158"/>
                </a:lnTo>
                <a:lnTo>
                  <a:pt x="816" y="1158"/>
                </a:lnTo>
                <a:lnTo>
                  <a:pt x="816" y="1152"/>
                </a:lnTo>
                <a:lnTo>
                  <a:pt x="810" y="1152"/>
                </a:lnTo>
                <a:lnTo>
                  <a:pt x="804" y="1152"/>
                </a:lnTo>
                <a:lnTo>
                  <a:pt x="804" y="1158"/>
                </a:lnTo>
                <a:lnTo>
                  <a:pt x="798" y="1158"/>
                </a:lnTo>
                <a:lnTo>
                  <a:pt x="798" y="1152"/>
                </a:lnTo>
                <a:lnTo>
                  <a:pt x="792" y="1146"/>
                </a:lnTo>
                <a:lnTo>
                  <a:pt x="792" y="1140"/>
                </a:lnTo>
                <a:lnTo>
                  <a:pt x="786" y="1140"/>
                </a:lnTo>
                <a:lnTo>
                  <a:pt x="786" y="1134"/>
                </a:lnTo>
                <a:lnTo>
                  <a:pt x="780" y="1140"/>
                </a:lnTo>
                <a:lnTo>
                  <a:pt x="780" y="1134"/>
                </a:lnTo>
                <a:lnTo>
                  <a:pt x="774" y="1134"/>
                </a:lnTo>
                <a:lnTo>
                  <a:pt x="774" y="1140"/>
                </a:lnTo>
                <a:lnTo>
                  <a:pt x="768" y="1140"/>
                </a:lnTo>
                <a:lnTo>
                  <a:pt x="768" y="1146"/>
                </a:lnTo>
                <a:lnTo>
                  <a:pt x="762" y="1146"/>
                </a:lnTo>
                <a:lnTo>
                  <a:pt x="756" y="1146"/>
                </a:lnTo>
                <a:lnTo>
                  <a:pt x="756" y="1152"/>
                </a:lnTo>
                <a:lnTo>
                  <a:pt x="756" y="1158"/>
                </a:lnTo>
                <a:lnTo>
                  <a:pt x="750" y="1158"/>
                </a:lnTo>
                <a:lnTo>
                  <a:pt x="750" y="1164"/>
                </a:lnTo>
                <a:lnTo>
                  <a:pt x="744" y="1158"/>
                </a:lnTo>
                <a:lnTo>
                  <a:pt x="744" y="1164"/>
                </a:lnTo>
                <a:lnTo>
                  <a:pt x="738" y="1164"/>
                </a:lnTo>
                <a:lnTo>
                  <a:pt x="732" y="1158"/>
                </a:lnTo>
                <a:lnTo>
                  <a:pt x="726" y="1158"/>
                </a:lnTo>
                <a:lnTo>
                  <a:pt x="726" y="1152"/>
                </a:lnTo>
                <a:lnTo>
                  <a:pt x="726" y="1146"/>
                </a:lnTo>
                <a:lnTo>
                  <a:pt x="726" y="1140"/>
                </a:lnTo>
                <a:lnTo>
                  <a:pt x="726" y="1134"/>
                </a:lnTo>
                <a:lnTo>
                  <a:pt x="726" y="1128"/>
                </a:lnTo>
                <a:lnTo>
                  <a:pt x="720" y="1128"/>
                </a:lnTo>
                <a:lnTo>
                  <a:pt x="714" y="1128"/>
                </a:lnTo>
                <a:lnTo>
                  <a:pt x="714" y="1122"/>
                </a:lnTo>
                <a:lnTo>
                  <a:pt x="708" y="1122"/>
                </a:lnTo>
                <a:lnTo>
                  <a:pt x="708" y="1116"/>
                </a:lnTo>
                <a:lnTo>
                  <a:pt x="702" y="1110"/>
                </a:lnTo>
                <a:lnTo>
                  <a:pt x="702" y="1104"/>
                </a:lnTo>
                <a:lnTo>
                  <a:pt x="702" y="1098"/>
                </a:lnTo>
                <a:lnTo>
                  <a:pt x="696" y="1098"/>
                </a:lnTo>
                <a:lnTo>
                  <a:pt x="690" y="1092"/>
                </a:lnTo>
                <a:lnTo>
                  <a:pt x="690" y="1098"/>
                </a:lnTo>
                <a:lnTo>
                  <a:pt x="684" y="1098"/>
                </a:lnTo>
                <a:lnTo>
                  <a:pt x="684" y="1092"/>
                </a:lnTo>
                <a:lnTo>
                  <a:pt x="690" y="1092"/>
                </a:lnTo>
                <a:lnTo>
                  <a:pt x="690" y="1086"/>
                </a:lnTo>
                <a:lnTo>
                  <a:pt x="684" y="1086"/>
                </a:lnTo>
                <a:lnTo>
                  <a:pt x="684" y="1080"/>
                </a:lnTo>
                <a:lnTo>
                  <a:pt x="678" y="1080"/>
                </a:lnTo>
                <a:lnTo>
                  <a:pt x="678" y="1074"/>
                </a:lnTo>
                <a:lnTo>
                  <a:pt x="678" y="1080"/>
                </a:lnTo>
                <a:lnTo>
                  <a:pt x="672" y="1080"/>
                </a:lnTo>
                <a:lnTo>
                  <a:pt x="666" y="1080"/>
                </a:lnTo>
                <a:lnTo>
                  <a:pt x="666" y="1086"/>
                </a:lnTo>
                <a:lnTo>
                  <a:pt x="660" y="1086"/>
                </a:lnTo>
                <a:lnTo>
                  <a:pt x="660" y="1080"/>
                </a:lnTo>
                <a:lnTo>
                  <a:pt x="660" y="1074"/>
                </a:lnTo>
                <a:lnTo>
                  <a:pt x="654" y="1074"/>
                </a:lnTo>
                <a:lnTo>
                  <a:pt x="654" y="1068"/>
                </a:lnTo>
                <a:lnTo>
                  <a:pt x="648" y="1068"/>
                </a:lnTo>
                <a:lnTo>
                  <a:pt x="642" y="1068"/>
                </a:lnTo>
                <a:lnTo>
                  <a:pt x="642" y="1062"/>
                </a:lnTo>
                <a:lnTo>
                  <a:pt x="642" y="1056"/>
                </a:lnTo>
                <a:lnTo>
                  <a:pt x="648" y="1050"/>
                </a:lnTo>
                <a:lnTo>
                  <a:pt x="642" y="1050"/>
                </a:lnTo>
                <a:lnTo>
                  <a:pt x="642" y="1044"/>
                </a:lnTo>
                <a:lnTo>
                  <a:pt x="636" y="1044"/>
                </a:lnTo>
                <a:lnTo>
                  <a:pt x="636" y="1050"/>
                </a:lnTo>
                <a:lnTo>
                  <a:pt x="630" y="1050"/>
                </a:lnTo>
                <a:lnTo>
                  <a:pt x="624" y="1050"/>
                </a:lnTo>
                <a:lnTo>
                  <a:pt x="624" y="1056"/>
                </a:lnTo>
                <a:lnTo>
                  <a:pt x="618" y="1056"/>
                </a:lnTo>
                <a:lnTo>
                  <a:pt x="618" y="1062"/>
                </a:lnTo>
                <a:lnTo>
                  <a:pt x="612" y="1062"/>
                </a:lnTo>
                <a:lnTo>
                  <a:pt x="612" y="1056"/>
                </a:lnTo>
                <a:lnTo>
                  <a:pt x="606" y="1056"/>
                </a:lnTo>
                <a:lnTo>
                  <a:pt x="606" y="1062"/>
                </a:lnTo>
                <a:lnTo>
                  <a:pt x="606" y="1068"/>
                </a:lnTo>
                <a:lnTo>
                  <a:pt x="606" y="1074"/>
                </a:lnTo>
                <a:lnTo>
                  <a:pt x="612" y="1074"/>
                </a:lnTo>
                <a:lnTo>
                  <a:pt x="612" y="1080"/>
                </a:lnTo>
                <a:lnTo>
                  <a:pt x="612" y="1086"/>
                </a:lnTo>
                <a:lnTo>
                  <a:pt x="606" y="1086"/>
                </a:lnTo>
                <a:lnTo>
                  <a:pt x="606" y="1092"/>
                </a:lnTo>
                <a:lnTo>
                  <a:pt x="606" y="1098"/>
                </a:lnTo>
                <a:lnTo>
                  <a:pt x="600" y="1098"/>
                </a:lnTo>
                <a:lnTo>
                  <a:pt x="594" y="1098"/>
                </a:lnTo>
                <a:lnTo>
                  <a:pt x="594" y="1104"/>
                </a:lnTo>
                <a:lnTo>
                  <a:pt x="588" y="1104"/>
                </a:lnTo>
                <a:lnTo>
                  <a:pt x="582" y="1104"/>
                </a:lnTo>
                <a:lnTo>
                  <a:pt x="582" y="1098"/>
                </a:lnTo>
                <a:lnTo>
                  <a:pt x="576" y="1098"/>
                </a:lnTo>
                <a:lnTo>
                  <a:pt x="576" y="1104"/>
                </a:lnTo>
                <a:lnTo>
                  <a:pt x="576" y="1098"/>
                </a:lnTo>
                <a:lnTo>
                  <a:pt x="570" y="1098"/>
                </a:lnTo>
                <a:lnTo>
                  <a:pt x="570" y="1092"/>
                </a:lnTo>
                <a:lnTo>
                  <a:pt x="564" y="1092"/>
                </a:lnTo>
                <a:lnTo>
                  <a:pt x="558" y="1092"/>
                </a:lnTo>
                <a:lnTo>
                  <a:pt x="558" y="1086"/>
                </a:lnTo>
                <a:lnTo>
                  <a:pt x="552" y="1086"/>
                </a:lnTo>
                <a:lnTo>
                  <a:pt x="552" y="1092"/>
                </a:lnTo>
                <a:lnTo>
                  <a:pt x="552" y="1098"/>
                </a:lnTo>
                <a:lnTo>
                  <a:pt x="546" y="1098"/>
                </a:lnTo>
                <a:lnTo>
                  <a:pt x="546" y="1092"/>
                </a:lnTo>
                <a:lnTo>
                  <a:pt x="540" y="1086"/>
                </a:lnTo>
                <a:lnTo>
                  <a:pt x="540" y="1080"/>
                </a:lnTo>
                <a:lnTo>
                  <a:pt x="534" y="1080"/>
                </a:lnTo>
                <a:lnTo>
                  <a:pt x="534" y="1074"/>
                </a:lnTo>
                <a:lnTo>
                  <a:pt x="528" y="1074"/>
                </a:lnTo>
                <a:lnTo>
                  <a:pt x="528" y="1068"/>
                </a:lnTo>
                <a:lnTo>
                  <a:pt x="522" y="1068"/>
                </a:lnTo>
                <a:lnTo>
                  <a:pt x="516" y="1074"/>
                </a:lnTo>
                <a:lnTo>
                  <a:pt x="516" y="1080"/>
                </a:lnTo>
                <a:lnTo>
                  <a:pt x="510" y="1080"/>
                </a:lnTo>
                <a:lnTo>
                  <a:pt x="504" y="1080"/>
                </a:lnTo>
                <a:lnTo>
                  <a:pt x="504" y="1074"/>
                </a:lnTo>
                <a:lnTo>
                  <a:pt x="510" y="1074"/>
                </a:lnTo>
                <a:lnTo>
                  <a:pt x="510" y="1068"/>
                </a:lnTo>
                <a:lnTo>
                  <a:pt x="504" y="1068"/>
                </a:lnTo>
                <a:lnTo>
                  <a:pt x="504" y="1062"/>
                </a:lnTo>
                <a:lnTo>
                  <a:pt x="498" y="1062"/>
                </a:lnTo>
                <a:lnTo>
                  <a:pt x="492" y="1062"/>
                </a:lnTo>
                <a:lnTo>
                  <a:pt x="492" y="1056"/>
                </a:lnTo>
                <a:lnTo>
                  <a:pt x="486" y="1056"/>
                </a:lnTo>
                <a:lnTo>
                  <a:pt x="486" y="1050"/>
                </a:lnTo>
                <a:lnTo>
                  <a:pt x="480" y="1044"/>
                </a:lnTo>
                <a:lnTo>
                  <a:pt x="474" y="1044"/>
                </a:lnTo>
                <a:lnTo>
                  <a:pt x="474" y="1038"/>
                </a:lnTo>
                <a:lnTo>
                  <a:pt x="468" y="1038"/>
                </a:lnTo>
                <a:lnTo>
                  <a:pt x="462" y="1038"/>
                </a:lnTo>
                <a:lnTo>
                  <a:pt x="456" y="1038"/>
                </a:lnTo>
                <a:lnTo>
                  <a:pt x="456" y="1032"/>
                </a:lnTo>
                <a:lnTo>
                  <a:pt x="450" y="1032"/>
                </a:lnTo>
                <a:lnTo>
                  <a:pt x="444" y="1032"/>
                </a:lnTo>
                <a:lnTo>
                  <a:pt x="438" y="1032"/>
                </a:lnTo>
                <a:lnTo>
                  <a:pt x="438" y="1038"/>
                </a:lnTo>
                <a:lnTo>
                  <a:pt x="432" y="1044"/>
                </a:lnTo>
                <a:lnTo>
                  <a:pt x="432" y="1050"/>
                </a:lnTo>
                <a:lnTo>
                  <a:pt x="432" y="1056"/>
                </a:lnTo>
                <a:lnTo>
                  <a:pt x="432" y="1062"/>
                </a:lnTo>
                <a:lnTo>
                  <a:pt x="426" y="1062"/>
                </a:lnTo>
                <a:lnTo>
                  <a:pt x="420" y="1062"/>
                </a:lnTo>
                <a:lnTo>
                  <a:pt x="420" y="1056"/>
                </a:lnTo>
                <a:lnTo>
                  <a:pt x="414" y="1056"/>
                </a:lnTo>
                <a:lnTo>
                  <a:pt x="414" y="1050"/>
                </a:lnTo>
                <a:lnTo>
                  <a:pt x="408" y="1050"/>
                </a:lnTo>
                <a:lnTo>
                  <a:pt x="408" y="1056"/>
                </a:lnTo>
                <a:lnTo>
                  <a:pt x="402" y="1056"/>
                </a:lnTo>
                <a:lnTo>
                  <a:pt x="396" y="1062"/>
                </a:lnTo>
                <a:lnTo>
                  <a:pt x="390" y="1062"/>
                </a:lnTo>
                <a:lnTo>
                  <a:pt x="390" y="1056"/>
                </a:lnTo>
                <a:lnTo>
                  <a:pt x="384" y="1056"/>
                </a:lnTo>
                <a:lnTo>
                  <a:pt x="384" y="1062"/>
                </a:lnTo>
                <a:lnTo>
                  <a:pt x="384" y="1068"/>
                </a:lnTo>
                <a:lnTo>
                  <a:pt x="378" y="1068"/>
                </a:lnTo>
                <a:lnTo>
                  <a:pt x="372" y="1068"/>
                </a:lnTo>
                <a:lnTo>
                  <a:pt x="366" y="1068"/>
                </a:lnTo>
                <a:lnTo>
                  <a:pt x="360" y="1068"/>
                </a:lnTo>
                <a:lnTo>
                  <a:pt x="354" y="1068"/>
                </a:lnTo>
                <a:lnTo>
                  <a:pt x="348" y="1068"/>
                </a:lnTo>
                <a:lnTo>
                  <a:pt x="342" y="1068"/>
                </a:lnTo>
                <a:lnTo>
                  <a:pt x="336" y="1068"/>
                </a:lnTo>
                <a:lnTo>
                  <a:pt x="336" y="1074"/>
                </a:lnTo>
                <a:lnTo>
                  <a:pt x="330" y="1074"/>
                </a:lnTo>
                <a:lnTo>
                  <a:pt x="324" y="1074"/>
                </a:lnTo>
                <a:lnTo>
                  <a:pt x="318" y="1080"/>
                </a:lnTo>
                <a:lnTo>
                  <a:pt x="318" y="1074"/>
                </a:lnTo>
                <a:lnTo>
                  <a:pt x="318" y="1080"/>
                </a:lnTo>
                <a:lnTo>
                  <a:pt x="312" y="1080"/>
                </a:lnTo>
                <a:lnTo>
                  <a:pt x="312" y="1074"/>
                </a:lnTo>
                <a:lnTo>
                  <a:pt x="306" y="1074"/>
                </a:lnTo>
                <a:lnTo>
                  <a:pt x="300" y="1074"/>
                </a:lnTo>
                <a:lnTo>
                  <a:pt x="300" y="1068"/>
                </a:lnTo>
                <a:lnTo>
                  <a:pt x="294" y="1068"/>
                </a:lnTo>
                <a:lnTo>
                  <a:pt x="294" y="1062"/>
                </a:lnTo>
                <a:lnTo>
                  <a:pt x="288" y="1062"/>
                </a:lnTo>
                <a:lnTo>
                  <a:pt x="282" y="1062"/>
                </a:lnTo>
                <a:lnTo>
                  <a:pt x="276" y="1062"/>
                </a:lnTo>
                <a:lnTo>
                  <a:pt x="270" y="1062"/>
                </a:lnTo>
                <a:lnTo>
                  <a:pt x="270" y="1056"/>
                </a:lnTo>
                <a:lnTo>
                  <a:pt x="270" y="1050"/>
                </a:lnTo>
                <a:lnTo>
                  <a:pt x="264" y="1050"/>
                </a:lnTo>
                <a:lnTo>
                  <a:pt x="264" y="1044"/>
                </a:lnTo>
                <a:lnTo>
                  <a:pt x="258" y="1044"/>
                </a:lnTo>
                <a:lnTo>
                  <a:pt x="258" y="1038"/>
                </a:lnTo>
                <a:lnTo>
                  <a:pt x="264" y="1038"/>
                </a:lnTo>
                <a:lnTo>
                  <a:pt x="264" y="1032"/>
                </a:lnTo>
                <a:lnTo>
                  <a:pt x="258" y="1032"/>
                </a:lnTo>
                <a:lnTo>
                  <a:pt x="258" y="1026"/>
                </a:lnTo>
                <a:lnTo>
                  <a:pt x="258" y="1020"/>
                </a:lnTo>
                <a:lnTo>
                  <a:pt x="252" y="1020"/>
                </a:lnTo>
                <a:lnTo>
                  <a:pt x="246" y="1020"/>
                </a:lnTo>
                <a:lnTo>
                  <a:pt x="240" y="1020"/>
                </a:lnTo>
                <a:lnTo>
                  <a:pt x="234" y="1020"/>
                </a:lnTo>
                <a:lnTo>
                  <a:pt x="234" y="1026"/>
                </a:lnTo>
                <a:lnTo>
                  <a:pt x="234" y="1032"/>
                </a:lnTo>
                <a:lnTo>
                  <a:pt x="240" y="1038"/>
                </a:lnTo>
                <a:lnTo>
                  <a:pt x="240" y="1044"/>
                </a:lnTo>
                <a:lnTo>
                  <a:pt x="240" y="1050"/>
                </a:lnTo>
                <a:lnTo>
                  <a:pt x="234" y="1050"/>
                </a:lnTo>
                <a:lnTo>
                  <a:pt x="234" y="1056"/>
                </a:lnTo>
                <a:lnTo>
                  <a:pt x="228" y="1062"/>
                </a:lnTo>
                <a:lnTo>
                  <a:pt x="222" y="1062"/>
                </a:lnTo>
                <a:lnTo>
                  <a:pt x="222" y="1056"/>
                </a:lnTo>
                <a:lnTo>
                  <a:pt x="222" y="1050"/>
                </a:lnTo>
                <a:lnTo>
                  <a:pt x="216" y="1050"/>
                </a:lnTo>
                <a:lnTo>
                  <a:pt x="216" y="1044"/>
                </a:lnTo>
                <a:lnTo>
                  <a:pt x="210" y="1038"/>
                </a:lnTo>
                <a:lnTo>
                  <a:pt x="210" y="1044"/>
                </a:lnTo>
                <a:lnTo>
                  <a:pt x="204" y="1044"/>
                </a:lnTo>
                <a:lnTo>
                  <a:pt x="198" y="1044"/>
                </a:lnTo>
                <a:lnTo>
                  <a:pt x="192" y="1044"/>
                </a:lnTo>
                <a:lnTo>
                  <a:pt x="192" y="1038"/>
                </a:lnTo>
                <a:lnTo>
                  <a:pt x="186" y="1038"/>
                </a:lnTo>
                <a:lnTo>
                  <a:pt x="180" y="1038"/>
                </a:lnTo>
                <a:lnTo>
                  <a:pt x="174" y="1038"/>
                </a:lnTo>
                <a:lnTo>
                  <a:pt x="174" y="1032"/>
                </a:lnTo>
                <a:lnTo>
                  <a:pt x="168" y="1032"/>
                </a:lnTo>
                <a:lnTo>
                  <a:pt x="162" y="1032"/>
                </a:lnTo>
                <a:lnTo>
                  <a:pt x="156" y="1032"/>
                </a:lnTo>
                <a:lnTo>
                  <a:pt x="150" y="1032"/>
                </a:lnTo>
                <a:lnTo>
                  <a:pt x="144" y="1032"/>
                </a:lnTo>
                <a:lnTo>
                  <a:pt x="138" y="1038"/>
                </a:lnTo>
                <a:lnTo>
                  <a:pt x="132" y="1038"/>
                </a:lnTo>
                <a:lnTo>
                  <a:pt x="132" y="1032"/>
                </a:lnTo>
                <a:lnTo>
                  <a:pt x="126" y="1032"/>
                </a:lnTo>
                <a:lnTo>
                  <a:pt x="120" y="1032"/>
                </a:lnTo>
                <a:lnTo>
                  <a:pt x="120" y="1026"/>
                </a:lnTo>
                <a:lnTo>
                  <a:pt x="114" y="1026"/>
                </a:lnTo>
                <a:lnTo>
                  <a:pt x="108" y="1020"/>
                </a:lnTo>
                <a:lnTo>
                  <a:pt x="102" y="1020"/>
                </a:lnTo>
                <a:lnTo>
                  <a:pt x="96" y="1020"/>
                </a:lnTo>
                <a:lnTo>
                  <a:pt x="96" y="1026"/>
                </a:lnTo>
                <a:lnTo>
                  <a:pt x="90" y="1026"/>
                </a:lnTo>
                <a:lnTo>
                  <a:pt x="84" y="1026"/>
                </a:lnTo>
                <a:lnTo>
                  <a:pt x="78" y="1026"/>
                </a:lnTo>
                <a:lnTo>
                  <a:pt x="72" y="1026"/>
                </a:lnTo>
                <a:lnTo>
                  <a:pt x="66" y="1026"/>
                </a:lnTo>
                <a:lnTo>
                  <a:pt x="60" y="1020"/>
                </a:lnTo>
                <a:lnTo>
                  <a:pt x="60" y="1014"/>
                </a:lnTo>
                <a:lnTo>
                  <a:pt x="66" y="1014"/>
                </a:lnTo>
                <a:lnTo>
                  <a:pt x="66" y="1008"/>
                </a:lnTo>
                <a:lnTo>
                  <a:pt x="66" y="1002"/>
                </a:lnTo>
                <a:lnTo>
                  <a:pt x="66" y="996"/>
                </a:lnTo>
                <a:lnTo>
                  <a:pt x="60" y="996"/>
                </a:lnTo>
                <a:lnTo>
                  <a:pt x="60" y="990"/>
                </a:lnTo>
                <a:lnTo>
                  <a:pt x="60" y="984"/>
                </a:lnTo>
                <a:lnTo>
                  <a:pt x="66" y="984"/>
                </a:lnTo>
                <a:lnTo>
                  <a:pt x="66" y="978"/>
                </a:lnTo>
                <a:lnTo>
                  <a:pt x="66" y="972"/>
                </a:lnTo>
                <a:lnTo>
                  <a:pt x="60" y="966"/>
                </a:lnTo>
                <a:lnTo>
                  <a:pt x="60" y="960"/>
                </a:lnTo>
                <a:lnTo>
                  <a:pt x="60" y="954"/>
                </a:lnTo>
                <a:lnTo>
                  <a:pt x="60" y="948"/>
                </a:lnTo>
                <a:lnTo>
                  <a:pt x="60" y="942"/>
                </a:lnTo>
                <a:lnTo>
                  <a:pt x="54" y="942"/>
                </a:lnTo>
                <a:lnTo>
                  <a:pt x="54" y="936"/>
                </a:lnTo>
                <a:lnTo>
                  <a:pt x="48" y="936"/>
                </a:lnTo>
                <a:lnTo>
                  <a:pt x="48" y="942"/>
                </a:lnTo>
                <a:lnTo>
                  <a:pt x="48" y="948"/>
                </a:lnTo>
                <a:lnTo>
                  <a:pt x="42" y="948"/>
                </a:lnTo>
                <a:lnTo>
                  <a:pt x="42" y="942"/>
                </a:lnTo>
                <a:lnTo>
                  <a:pt x="36" y="942"/>
                </a:lnTo>
                <a:lnTo>
                  <a:pt x="36" y="948"/>
                </a:lnTo>
                <a:lnTo>
                  <a:pt x="30" y="948"/>
                </a:lnTo>
                <a:lnTo>
                  <a:pt x="30" y="954"/>
                </a:lnTo>
                <a:lnTo>
                  <a:pt x="30" y="948"/>
                </a:lnTo>
                <a:lnTo>
                  <a:pt x="24" y="948"/>
                </a:lnTo>
                <a:lnTo>
                  <a:pt x="24" y="942"/>
                </a:lnTo>
                <a:lnTo>
                  <a:pt x="30" y="942"/>
                </a:lnTo>
                <a:lnTo>
                  <a:pt x="30" y="936"/>
                </a:lnTo>
                <a:lnTo>
                  <a:pt x="24" y="936"/>
                </a:lnTo>
                <a:lnTo>
                  <a:pt x="24" y="930"/>
                </a:lnTo>
                <a:lnTo>
                  <a:pt x="24" y="936"/>
                </a:lnTo>
                <a:lnTo>
                  <a:pt x="30" y="930"/>
                </a:lnTo>
                <a:lnTo>
                  <a:pt x="24" y="924"/>
                </a:lnTo>
                <a:lnTo>
                  <a:pt x="24" y="918"/>
                </a:lnTo>
                <a:lnTo>
                  <a:pt x="24" y="912"/>
                </a:lnTo>
                <a:lnTo>
                  <a:pt x="24" y="906"/>
                </a:lnTo>
                <a:lnTo>
                  <a:pt x="18" y="906"/>
                </a:lnTo>
                <a:lnTo>
                  <a:pt x="12" y="906"/>
                </a:lnTo>
                <a:lnTo>
                  <a:pt x="12" y="900"/>
                </a:lnTo>
                <a:lnTo>
                  <a:pt x="12" y="894"/>
                </a:lnTo>
                <a:lnTo>
                  <a:pt x="12" y="888"/>
                </a:lnTo>
                <a:lnTo>
                  <a:pt x="6" y="888"/>
                </a:lnTo>
                <a:lnTo>
                  <a:pt x="0" y="888"/>
                </a:lnTo>
                <a:lnTo>
                  <a:pt x="0" y="882"/>
                </a:lnTo>
                <a:lnTo>
                  <a:pt x="6" y="882"/>
                </a:lnTo>
                <a:lnTo>
                  <a:pt x="6" y="876"/>
                </a:lnTo>
                <a:lnTo>
                  <a:pt x="12" y="876"/>
                </a:lnTo>
                <a:lnTo>
                  <a:pt x="18" y="876"/>
                </a:lnTo>
                <a:lnTo>
                  <a:pt x="24" y="876"/>
                </a:lnTo>
                <a:lnTo>
                  <a:pt x="30" y="876"/>
                </a:lnTo>
                <a:lnTo>
                  <a:pt x="30" y="870"/>
                </a:lnTo>
                <a:lnTo>
                  <a:pt x="30" y="876"/>
                </a:lnTo>
                <a:lnTo>
                  <a:pt x="30" y="870"/>
                </a:lnTo>
                <a:lnTo>
                  <a:pt x="30" y="864"/>
                </a:lnTo>
                <a:lnTo>
                  <a:pt x="30" y="858"/>
                </a:lnTo>
                <a:lnTo>
                  <a:pt x="30" y="852"/>
                </a:lnTo>
                <a:lnTo>
                  <a:pt x="36" y="852"/>
                </a:lnTo>
                <a:lnTo>
                  <a:pt x="36" y="846"/>
                </a:lnTo>
                <a:lnTo>
                  <a:pt x="42" y="846"/>
                </a:lnTo>
                <a:lnTo>
                  <a:pt x="48" y="846"/>
                </a:lnTo>
                <a:lnTo>
                  <a:pt x="54" y="852"/>
                </a:lnTo>
                <a:lnTo>
                  <a:pt x="54" y="846"/>
                </a:lnTo>
                <a:lnTo>
                  <a:pt x="60" y="846"/>
                </a:lnTo>
                <a:lnTo>
                  <a:pt x="60" y="840"/>
                </a:lnTo>
                <a:lnTo>
                  <a:pt x="60" y="834"/>
                </a:lnTo>
                <a:lnTo>
                  <a:pt x="60" y="828"/>
                </a:lnTo>
                <a:lnTo>
                  <a:pt x="60" y="822"/>
                </a:lnTo>
                <a:lnTo>
                  <a:pt x="60" y="816"/>
                </a:lnTo>
                <a:lnTo>
                  <a:pt x="54" y="816"/>
                </a:lnTo>
                <a:lnTo>
                  <a:pt x="54" y="810"/>
                </a:lnTo>
                <a:lnTo>
                  <a:pt x="48" y="810"/>
                </a:lnTo>
                <a:lnTo>
                  <a:pt x="48" y="804"/>
                </a:lnTo>
                <a:lnTo>
                  <a:pt x="54" y="804"/>
                </a:lnTo>
                <a:lnTo>
                  <a:pt x="60" y="804"/>
                </a:lnTo>
                <a:lnTo>
                  <a:pt x="60" y="798"/>
                </a:lnTo>
                <a:lnTo>
                  <a:pt x="60" y="792"/>
                </a:lnTo>
                <a:lnTo>
                  <a:pt x="66" y="792"/>
                </a:lnTo>
                <a:lnTo>
                  <a:pt x="66" y="798"/>
                </a:lnTo>
                <a:lnTo>
                  <a:pt x="72" y="798"/>
                </a:lnTo>
                <a:lnTo>
                  <a:pt x="78" y="798"/>
                </a:lnTo>
                <a:lnTo>
                  <a:pt x="78" y="804"/>
                </a:lnTo>
                <a:lnTo>
                  <a:pt x="84" y="804"/>
                </a:lnTo>
                <a:lnTo>
                  <a:pt x="90" y="804"/>
                </a:lnTo>
                <a:lnTo>
                  <a:pt x="96" y="804"/>
                </a:lnTo>
                <a:lnTo>
                  <a:pt x="102" y="810"/>
                </a:lnTo>
                <a:lnTo>
                  <a:pt x="114" y="810"/>
                </a:lnTo>
                <a:lnTo>
                  <a:pt x="120" y="816"/>
                </a:lnTo>
                <a:lnTo>
                  <a:pt x="120" y="810"/>
                </a:lnTo>
                <a:lnTo>
                  <a:pt x="126" y="810"/>
                </a:lnTo>
                <a:lnTo>
                  <a:pt x="126" y="804"/>
                </a:lnTo>
                <a:lnTo>
                  <a:pt x="126" y="798"/>
                </a:lnTo>
                <a:lnTo>
                  <a:pt x="126" y="792"/>
                </a:lnTo>
                <a:lnTo>
                  <a:pt x="126" y="786"/>
                </a:lnTo>
                <a:lnTo>
                  <a:pt x="132" y="786"/>
                </a:lnTo>
                <a:lnTo>
                  <a:pt x="132" y="780"/>
                </a:lnTo>
                <a:lnTo>
                  <a:pt x="126" y="780"/>
                </a:lnTo>
                <a:lnTo>
                  <a:pt x="126" y="774"/>
                </a:lnTo>
                <a:lnTo>
                  <a:pt x="132" y="774"/>
                </a:lnTo>
                <a:lnTo>
                  <a:pt x="138" y="768"/>
                </a:lnTo>
                <a:lnTo>
                  <a:pt x="138" y="762"/>
                </a:lnTo>
                <a:lnTo>
                  <a:pt x="138" y="756"/>
                </a:lnTo>
                <a:lnTo>
                  <a:pt x="138" y="750"/>
                </a:lnTo>
                <a:lnTo>
                  <a:pt x="138" y="744"/>
                </a:lnTo>
                <a:lnTo>
                  <a:pt x="138" y="738"/>
                </a:lnTo>
                <a:lnTo>
                  <a:pt x="138" y="732"/>
                </a:lnTo>
                <a:lnTo>
                  <a:pt x="132" y="732"/>
                </a:lnTo>
                <a:lnTo>
                  <a:pt x="126" y="726"/>
                </a:lnTo>
                <a:lnTo>
                  <a:pt x="120" y="726"/>
                </a:lnTo>
                <a:lnTo>
                  <a:pt x="120" y="720"/>
                </a:lnTo>
                <a:lnTo>
                  <a:pt x="126" y="720"/>
                </a:lnTo>
                <a:lnTo>
                  <a:pt x="120" y="720"/>
                </a:lnTo>
                <a:lnTo>
                  <a:pt x="126" y="714"/>
                </a:lnTo>
                <a:lnTo>
                  <a:pt x="132" y="714"/>
                </a:lnTo>
                <a:lnTo>
                  <a:pt x="132" y="708"/>
                </a:lnTo>
                <a:lnTo>
                  <a:pt x="126" y="708"/>
                </a:lnTo>
                <a:lnTo>
                  <a:pt x="126" y="702"/>
                </a:lnTo>
                <a:lnTo>
                  <a:pt x="126" y="696"/>
                </a:lnTo>
                <a:lnTo>
                  <a:pt x="126" y="690"/>
                </a:lnTo>
                <a:lnTo>
                  <a:pt x="126" y="684"/>
                </a:lnTo>
                <a:lnTo>
                  <a:pt x="126" y="678"/>
                </a:lnTo>
                <a:lnTo>
                  <a:pt x="132" y="678"/>
                </a:lnTo>
                <a:lnTo>
                  <a:pt x="132" y="672"/>
                </a:lnTo>
                <a:lnTo>
                  <a:pt x="126" y="672"/>
                </a:lnTo>
                <a:lnTo>
                  <a:pt x="126" y="666"/>
                </a:lnTo>
                <a:lnTo>
                  <a:pt x="120" y="666"/>
                </a:lnTo>
                <a:lnTo>
                  <a:pt x="114" y="672"/>
                </a:lnTo>
                <a:lnTo>
                  <a:pt x="114" y="666"/>
                </a:lnTo>
                <a:lnTo>
                  <a:pt x="114" y="660"/>
                </a:lnTo>
                <a:lnTo>
                  <a:pt x="120" y="660"/>
                </a:lnTo>
                <a:lnTo>
                  <a:pt x="120" y="654"/>
                </a:lnTo>
                <a:lnTo>
                  <a:pt x="114" y="654"/>
                </a:lnTo>
                <a:lnTo>
                  <a:pt x="108" y="654"/>
                </a:lnTo>
                <a:lnTo>
                  <a:pt x="108" y="648"/>
                </a:lnTo>
                <a:lnTo>
                  <a:pt x="114" y="648"/>
                </a:lnTo>
                <a:lnTo>
                  <a:pt x="120" y="648"/>
                </a:lnTo>
                <a:lnTo>
                  <a:pt x="120" y="642"/>
                </a:lnTo>
                <a:lnTo>
                  <a:pt x="126" y="636"/>
                </a:lnTo>
                <a:lnTo>
                  <a:pt x="126" y="630"/>
                </a:lnTo>
                <a:lnTo>
                  <a:pt x="120" y="624"/>
                </a:lnTo>
                <a:lnTo>
                  <a:pt x="114" y="624"/>
                </a:lnTo>
                <a:lnTo>
                  <a:pt x="108" y="624"/>
                </a:lnTo>
                <a:lnTo>
                  <a:pt x="108" y="618"/>
                </a:lnTo>
                <a:lnTo>
                  <a:pt x="114" y="612"/>
                </a:lnTo>
                <a:lnTo>
                  <a:pt x="114" y="606"/>
                </a:lnTo>
                <a:lnTo>
                  <a:pt x="120" y="606"/>
                </a:lnTo>
                <a:lnTo>
                  <a:pt x="120" y="600"/>
                </a:lnTo>
                <a:lnTo>
                  <a:pt x="120" y="594"/>
                </a:lnTo>
                <a:lnTo>
                  <a:pt x="126" y="594"/>
                </a:lnTo>
                <a:lnTo>
                  <a:pt x="126" y="588"/>
                </a:lnTo>
                <a:lnTo>
                  <a:pt x="120" y="588"/>
                </a:lnTo>
                <a:lnTo>
                  <a:pt x="126" y="588"/>
                </a:lnTo>
                <a:lnTo>
                  <a:pt x="132" y="588"/>
                </a:lnTo>
                <a:lnTo>
                  <a:pt x="132" y="582"/>
                </a:lnTo>
                <a:lnTo>
                  <a:pt x="132" y="576"/>
                </a:lnTo>
                <a:lnTo>
                  <a:pt x="126" y="576"/>
                </a:lnTo>
                <a:lnTo>
                  <a:pt x="126" y="570"/>
                </a:lnTo>
                <a:lnTo>
                  <a:pt x="132" y="570"/>
                </a:lnTo>
                <a:lnTo>
                  <a:pt x="132" y="564"/>
                </a:lnTo>
                <a:lnTo>
                  <a:pt x="132" y="558"/>
                </a:lnTo>
                <a:lnTo>
                  <a:pt x="126" y="552"/>
                </a:lnTo>
                <a:lnTo>
                  <a:pt x="132" y="552"/>
                </a:lnTo>
                <a:lnTo>
                  <a:pt x="132" y="546"/>
                </a:lnTo>
                <a:lnTo>
                  <a:pt x="138" y="546"/>
                </a:lnTo>
                <a:lnTo>
                  <a:pt x="138" y="540"/>
                </a:lnTo>
                <a:lnTo>
                  <a:pt x="138" y="534"/>
                </a:lnTo>
                <a:lnTo>
                  <a:pt x="132" y="534"/>
                </a:lnTo>
                <a:lnTo>
                  <a:pt x="132" y="528"/>
                </a:lnTo>
                <a:lnTo>
                  <a:pt x="126" y="528"/>
                </a:lnTo>
                <a:lnTo>
                  <a:pt x="126" y="522"/>
                </a:lnTo>
                <a:lnTo>
                  <a:pt x="126" y="516"/>
                </a:lnTo>
                <a:lnTo>
                  <a:pt x="132" y="516"/>
                </a:lnTo>
                <a:lnTo>
                  <a:pt x="138" y="516"/>
                </a:lnTo>
                <a:lnTo>
                  <a:pt x="138" y="510"/>
                </a:lnTo>
                <a:lnTo>
                  <a:pt x="138" y="504"/>
                </a:lnTo>
                <a:lnTo>
                  <a:pt x="138" y="498"/>
                </a:lnTo>
                <a:lnTo>
                  <a:pt x="138" y="492"/>
                </a:lnTo>
                <a:lnTo>
                  <a:pt x="138" y="486"/>
                </a:lnTo>
                <a:lnTo>
                  <a:pt x="138" y="492"/>
                </a:lnTo>
                <a:lnTo>
                  <a:pt x="144" y="492"/>
                </a:lnTo>
                <a:lnTo>
                  <a:pt x="150" y="492"/>
                </a:lnTo>
                <a:lnTo>
                  <a:pt x="144" y="486"/>
                </a:lnTo>
                <a:lnTo>
                  <a:pt x="144" y="480"/>
                </a:lnTo>
                <a:lnTo>
                  <a:pt x="150" y="474"/>
                </a:lnTo>
                <a:lnTo>
                  <a:pt x="150" y="468"/>
                </a:lnTo>
                <a:lnTo>
                  <a:pt x="156" y="468"/>
                </a:lnTo>
                <a:lnTo>
                  <a:pt x="162" y="468"/>
                </a:lnTo>
                <a:lnTo>
                  <a:pt x="162" y="462"/>
                </a:lnTo>
                <a:lnTo>
                  <a:pt x="168" y="468"/>
                </a:lnTo>
                <a:lnTo>
                  <a:pt x="168" y="474"/>
                </a:lnTo>
                <a:lnTo>
                  <a:pt x="168" y="480"/>
                </a:lnTo>
                <a:lnTo>
                  <a:pt x="174" y="480"/>
                </a:lnTo>
                <a:lnTo>
                  <a:pt x="180" y="480"/>
                </a:lnTo>
                <a:lnTo>
                  <a:pt x="180" y="474"/>
                </a:lnTo>
                <a:lnTo>
                  <a:pt x="186" y="474"/>
                </a:lnTo>
                <a:lnTo>
                  <a:pt x="186" y="468"/>
                </a:lnTo>
                <a:lnTo>
                  <a:pt x="192" y="468"/>
                </a:lnTo>
                <a:lnTo>
                  <a:pt x="198" y="468"/>
                </a:lnTo>
                <a:lnTo>
                  <a:pt x="204" y="468"/>
                </a:lnTo>
                <a:lnTo>
                  <a:pt x="210" y="462"/>
                </a:lnTo>
                <a:lnTo>
                  <a:pt x="210" y="468"/>
                </a:lnTo>
                <a:lnTo>
                  <a:pt x="216" y="468"/>
                </a:lnTo>
                <a:lnTo>
                  <a:pt x="216" y="474"/>
                </a:lnTo>
                <a:lnTo>
                  <a:pt x="222" y="474"/>
                </a:lnTo>
                <a:lnTo>
                  <a:pt x="228" y="474"/>
                </a:lnTo>
                <a:lnTo>
                  <a:pt x="234" y="474"/>
                </a:lnTo>
                <a:lnTo>
                  <a:pt x="240" y="474"/>
                </a:lnTo>
                <a:lnTo>
                  <a:pt x="240" y="480"/>
                </a:lnTo>
                <a:lnTo>
                  <a:pt x="246" y="480"/>
                </a:lnTo>
                <a:lnTo>
                  <a:pt x="246" y="474"/>
                </a:lnTo>
                <a:lnTo>
                  <a:pt x="246" y="480"/>
                </a:lnTo>
                <a:lnTo>
                  <a:pt x="252" y="480"/>
                </a:lnTo>
                <a:lnTo>
                  <a:pt x="258" y="480"/>
                </a:lnTo>
                <a:lnTo>
                  <a:pt x="258" y="474"/>
                </a:lnTo>
                <a:lnTo>
                  <a:pt x="258" y="468"/>
                </a:lnTo>
                <a:lnTo>
                  <a:pt x="258" y="462"/>
                </a:lnTo>
                <a:lnTo>
                  <a:pt x="258" y="456"/>
                </a:lnTo>
                <a:lnTo>
                  <a:pt x="258" y="450"/>
                </a:lnTo>
                <a:lnTo>
                  <a:pt x="258" y="444"/>
                </a:lnTo>
                <a:lnTo>
                  <a:pt x="258" y="438"/>
                </a:lnTo>
                <a:lnTo>
                  <a:pt x="264" y="438"/>
                </a:lnTo>
                <a:lnTo>
                  <a:pt x="270" y="438"/>
                </a:lnTo>
                <a:lnTo>
                  <a:pt x="270" y="432"/>
                </a:lnTo>
                <a:lnTo>
                  <a:pt x="270" y="426"/>
                </a:lnTo>
                <a:lnTo>
                  <a:pt x="276" y="420"/>
                </a:lnTo>
                <a:lnTo>
                  <a:pt x="276" y="414"/>
                </a:lnTo>
                <a:lnTo>
                  <a:pt x="276" y="408"/>
                </a:lnTo>
                <a:lnTo>
                  <a:pt x="282" y="402"/>
                </a:lnTo>
                <a:lnTo>
                  <a:pt x="282" y="396"/>
                </a:lnTo>
                <a:lnTo>
                  <a:pt x="288" y="396"/>
                </a:lnTo>
                <a:lnTo>
                  <a:pt x="288" y="390"/>
                </a:lnTo>
                <a:lnTo>
                  <a:pt x="282" y="390"/>
                </a:lnTo>
                <a:lnTo>
                  <a:pt x="276" y="390"/>
                </a:lnTo>
                <a:lnTo>
                  <a:pt x="276" y="384"/>
                </a:lnTo>
                <a:lnTo>
                  <a:pt x="276" y="378"/>
                </a:lnTo>
                <a:lnTo>
                  <a:pt x="270" y="378"/>
                </a:lnTo>
                <a:lnTo>
                  <a:pt x="270" y="372"/>
                </a:lnTo>
                <a:lnTo>
                  <a:pt x="270" y="366"/>
                </a:lnTo>
                <a:lnTo>
                  <a:pt x="264" y="366"/>
                </a:lnTo>
                <a:lnTo>
                  <a:pt x="264" y="372"/>
                </a:lnTo>
                <a:lnTo>
                  <a:pt x="258" y="366"/>
                </a:lnTo>
                <a:lnTo>
                  <a:pt x="258" y="360"/>
                </a:lnTo>
                <a:lnTo>
                  <a:pt x="264" y="360"/>
                </a:lnTo>
                <a:lnTo>
                  <a:pt x="264" y="354"/>
                </a:lnTo>
                <a:lnTo>
                  <a:pt x="264" y="348"/>
                </a:lnTo>
                <a:lnTo>
                  <a:pt x="258" y="348"/>
                </a:lnTo>
                <a:lnTo>
                  <a:pt x="258" y="342"/>
                </a:lnTo>
                <a:lnTo>
                  <a:pt x="258" y="336"/>
                </a:lnTo>
                <a:lnTo>
                  <a:pt x="264" y="336"/>
                </a:lnTo>
                <a:lnTo>
                  <a:pt x="264" y="330"/>
                </a:lnTo>
                <a:lnTo>
                  <a:pt x="258" y="330"/>
                </a:lnTo>
                <a:lnTo>
                  <a:pt x="258" y="324"/>
                </a:lnTo>
                <a:lnTo>
                  <a:pt x="252" y="324"/>
                </a:lnTo>
                <a:lnTo>
                  <a:pt x="252" y="318"/>
                </a:lnTo>
                <a:lnTo>
                  <a:pt x="246" y="318"/>
                </a:lnTo>
                <a:lnTo>
                  <a:pt x="246" y="312"/>
                </a:lnTo>
                <a:lnTo>
                  <a:pt x="246" y="306"/>
                </a:lnTo>
                <a:lnTo>
                  <a:pt x="246" y="300"/>
                </a:lnTo>
                <a:lnTo>
                  <a:pt x="246" y="294"/>
                </a:lnTo>
                <a:lnTo>
                  <a:pt x="246" y="288"/>
                </a:lnTo>
                <a:lnTo>
                  <a:pt x="252" y="288"/>
                </a:lnTo>
                <a:lnTo>
                  <a:pt x="252" y="282"/>
                </a:lnTo>
                <a:lnTo>
                  <a:pt x="258" y="282"/>
                </a:lnTo>
                <a:lnTo>
                  <a:pt x="258" y="276"/>
                </a:lnTo>
                <a:lnTo>
                  <a:pt x="264" y="282"/>
                </a:lnTo>
                <a:lnTo>
                  <a:pt x="270" y="282"/>
                </a:lnTo>
                <a:lnTo>
                  <a:pt x="270" y="288"/>
                </a:lnTo>
                <a:lnTo>
                  <a:pt x="276" y="288"/>
                </a:lnTo>
                <a:lnTo>
                  <a:pt x="282" y="288"/>
                </a:lnTo>
                <a:lnTo>
                  <a:pt x="288" y="288"/>
                </a:lnTo>
                <a:lnTo>
                  <a:pt x="288" y="282"/>
                </a:lnTo>
                <a:lnTo>
                  <a:pt x="294" y="282"/>
                </a:lnTo>
                <a:lnTo>
                  <a:pt x="294" y="276"/>
                </a:lnTo>
                <a:lnTo>
                  <a:pt x="294" y="282"/>
                </a:lnTo>
                <a:lnTo>
                  <a:pt x="300" y="282"/>
                </a:lnTo>
                <a:lnTo>
                  <a:pt x="306" y="276"/>
                </a:lnTo>
                <a:lnTo>
                  <a:pt x="306" y="270"/>
                </a:lnTo>
                <a:lnTo>
                  <a:pt x="312" y="270"/>
                </a:lnTo>
                <a:lnTo>
                  <a:pt x="312" y="264"/>
                </a:lnTo>
                <a:lnTo>
                  <a:pt x="318" y="264"/>
                </a:lnTo>
                <a:lnTo>
                  <a:pt x="324" y="264"/>
                </a:lnTo>
                <a:lnTo>
                  <a:pt x="330" y="264"/>
                </a:lnTo>
                <a:lnTo>
                  <a:pt x="336" y="264"/>
                </a:lnTo>
                <a:lnTo>
                  <a:pt x="342" y="264"/>
                </a:lnTo>
                <a:lnTo>
                  <a:pt x="348" y="264"/>
                </a:lnTo>
                <a:lnTo>
                  <a:pt x="348" y="258"/>
                </a:lnTo>
                <a:lnTo>
                  <a:pt x="348" y="252"/>
                </a:lnTo>
                <a:lnTo>
                  <a:pt x="348" y="246"/>
                </a:lnTo>
                <a:lnTo>
                  <a:pt x="354" y="246"/>
                </a:lnTo>
                <a:lnTo>
                  <a:pt x="354" y="240"/>
                </a:lnTo>
                <a:lnTo>
                  <a:pt x="354" y="234"/>
                </a:lnTo>
                <a:lnTo>
                  <a:pt x="354" y="228"/>
                </a:lnTo>
                <a:lnTo>
                  <a:pt x="354" y="222"/>
                </a:lnTo>
                <a:lnTo>
                  <a:pt x="348" y="222"/>
                </a:lnTo>
                <a:lnTo>
                  <a:pt x="348" y="228"/>
                </a:lnTo>
                <a:lnTo>
                  <a:pt x="342" y="228"/>
                </a:lnTo>
                <a:lnTo>
                  <a:pt x="336" y="228"/>
                </a:lnTo>
                <a:lnTo>
                  <a:pt x="336" y="222"/>
                </a:lnTo>
                <a:lnTo>
                  <a:pt x="330" y="216"/>
                </a:lnTo>
                <a:lnTo>
                  <a:pt x="330" y="210"/>
                </a:lnTo>
                <a:lnTo>
                  <a:pt x="330" y="204"/>
                </a:lnTo>
                <a:lnTo>
                  <a:pt x="336" y="204"/>
                </a:lnTo>
                <a:lnTo>
                  <a:pt x="336" y="198"/>
                </a:lnTo>
                <a:lnTo>
                  <a:pt x="336" y="192"/>
                </a:lnTo>
                <a:lnTo>
                  <a:pt x="336" y="186"/>
                </a:lnTo>
                <a:lnTo>
                  <a:pt x="336" y="180"/>
                </a:lnTo>
                <a:lnTo>
                  <a:pt x="336" y="174"/>
                </a:lnTo>
                <a:lnTo>
                  <a:pt x="336" y="168"/>
                </a:lnTo>
                <a:lnTo>
                  <a:pt x="342" y="168"/>
                </a:lnTo>
                <a:lnTo>
                  <a:pt x="348" y="168"/>
                </a:lnTo>
                <a:lnTo>
                  <a:pt x="354" y="168"/>
                </a:lnTo>
                <a:lnTo>
                  <a:pt x="354" y="162"/>
                </a:lnTo>
                <a:lnTo>
                  <a:pt x="360" y="162"/>
                </a:lnTo>
                <a:lnTo>
                  <a:pt x="360" y="156"/>
                </a:lnTo>
                <a:lnTo>
                  <a:pt x="366" y="156"/>
                </a:lnTo>
                <a:lnTo>
                  <a:pt x="372" y="156"/>
                </a:lnTo>
                <a:lnTo>
                  <a:pt x="372" y="150"/>
                </a:lnTo>
                <a:lnTo>
                  <a:pt x="378" y="150"/>
                </a:lnTo>
                <a:lnTo>
                  <a:pt x="384" y="150"/>
                </a:lnTo>
                <a:lnTo>
                  <a:pt x="390" y="150"/>
                </a:lnTo>
                <a:lnTo>
                  <a:pt x="396" y="150"/>
                </a:lnTo>
                <a:lnTo>
                  <a:pt x="402" y="150"/>
                </a:lnTo>
                <a:lnTo>
                  <a:pt x="402" y="156"/>
                </a:lnTo>
                <a:lnTo>
                  <a:pt x="408" y="156"/>
                </a:lnTo>
                <a:lnTo>
                  <a:pt x="414" y="156"/>
                </a:lnTo>
                <a:lnTo>
                  <a:pt x="414" y="150"/>
                </a:lnTo>
                <a:lnTo>
                  <a:pt x="414" y="144"/>
                </a:lnTo>
                <a:lnTo>
                  <a:pt x="408" y="144"/>
                </a:lnTo>
                <a:lnTo>
                  <a:pt x="408" y="138"/>
                </a:lnTo>
                <a:lnTo>
                  <a:pt x="402" y="138"/>
                </a:lnTo>
                <a:lnTo>
                  <a:pt x="402" y="132"/>
                </a:lnTo>
                <a:lnTo>
                  <a:pt x="408" y="132"/>
                </a:lnTo>
                <a:lnTo>
                  <a:pt x="408" y="126"/>
                </a:lnTo>
                <a:lnTo>
                  <a:pt x="414" y="126"/>
                </a:lnTo>
                <a:lnTo>
                  <a:pt x="414" y="120"/>
                </a:lnTo>
                <a:lnTo>
                  <a:pt x="420" y="120"/>
                </a:lnTo>
                <a:lnTo>
                  <a:pt x="420" y="114"/>
                </a:lnTo>
                <a:lnTo>
                  <a:pt x="414" y="114"/>
                </a:lnTo>
                <a:lnTo>
                  <a:pt x="414" y="108"/>
                </a:lnTo>
                <a:lnTo>
                  <a:pt x="414" y="102"/>
                </a:lnTo>
                <a:lnTo>
                  <a:pt x="408" y="102"/>
                </a:lnTo>
                <a:lnTo>
                  <a:pt x="402" y="102"/>
                </a:lnTo>
                <a:lnTo>
                  <a:pt x="402" y="96"/>
                </a:lnTo>
                <a:lnTo>
                  <a:pt x="396" y="102"/>
                </a:lnTo>
                <a:lnTo>
                  <a:pt x="390" y="102"/>
                </a:lnTo>
                <a:lnTo>
                  <a:pt x="384" y="102"/>
                </a:lnTo>
                <a:lnTo>
                  <a:pt x="384" y="108"/>
                </a:lnTo>
                <a:lnTo>
                  <a:pt x="378" y="108"/>
                </a:lnTo>
                <a:lnTo>
                  <a:pt x="378" y="102"/>
                </a:lnTo>
                <a:lnTo>
                  <a:pt x="384" y="102"/>
                </a:lnTo>
                <a:lnTo>
                  <a:pt x="384" y="96"/>
                </a:lnTo>
                <a:lnTo>
                  <a:pt x="384" y="90"/>
                </a:lnTo>
                <a:lnTo>
                  <a:pt x="384" y="84"/>
                </a:lnTo>
                <a:lnTo>
                  <a:pt x="384" y="78"/>
                </a:lnTo>
                <a:lnTo>
                  <a:pt x="378" y="72"/>
                </a:lnTo>
                <a:lnTo>
                  <a:pt x="378" y="66"/>
                </a:lnTo>
                <a:lnTo>
                  <a:pt x="384" y="66"/>
                </a:lnTo>
                <a:lnTo>
                  <a:pt x="384" y="60"/>
                </a:lnTo>
                <a:lnTo>
                  <a:pt x="384" y="54"/>
                </a:lnTo>
                <a:lnTo>
                  <a:pt x="390" y="54"/>
                </a:lnTo>
                <a:lnTo>
                  <a:pt x="396" y="54"/>
                </a:lnTo>
                <a:lnTo>
                  <a:pt x="396" y="48"/>
                </a:lnTo>
                <a:lnTo>
                  <a:pt x="402" y="48"/>
                </a:lnTo>
                <a:lnTo>
                  <a:pt x="408" y="48"/>
                </a:lnTo>
                <a:lnTo>
                  <a:pt x="414" y="48"/>
                </a:lnTo>
                <a:lnTo>
                  <a:pt x="420" y="48"/>
                </a:lnTo>
                <a:lnTo>
                  <a:pt x="426" y="48"/>
                </a:lnTo>
                <a:lnTo>
                  <a:pt x="432" y="48"/>
                </a:lnTo>
                <a:lnTo>
                  <a:pt x="438" y="42"/>
                </a:lnTo>
                <a:lnTo>
                  <a:pt x="444" y="42"/>
                </a:lnTo>
                <a:lnTo>
                  <a:pt x="444" y="36"/>
                </a:lnTo>
                <a:lnTo>
                  <a:pt x="450" y="30"/>
                </a:lnTo>
                <a:lnTo>
                  <a:pt x="450" y="36"/>
                </a:lnTo>
                <a:lnTo>
                  <a:pt x="450" y="42"/>
                </a:lnTo>
                <a:lnTo>
                  <a:pt x="456" y="42"/>
                </a:lnTo>
                <a:lnTo>
                  <a:pt x="462" y="42"/>
                </a:lnTo>
                <a:lnTo>
                  <a:pt x="456" y="36"/>
                </a:lnTo>
                <a:lnTo>
                  <a:pt x="456" y="30"/>
                </a:lnTo>
                <a:lnTo>
                  <a:pt x="450" y="30"/>
                </a:lnTo>
                <a:lnTo>
                  <a:pt x="450" y="24"/>
                </a:lnTo>
                <a:lnTo>
                  <a:pt x="456" y="24"/>
                </a:lnTo>
                <a:lnTo>
                  <a:pt x="462" y="24"/>
                </a:lnTo>
                <a:lnTo>
                  <a:pt x="462" y="30"/>
                </a:lnTo>
                <a:lnTo>
                  <a:pt x="462" y="24"/>
                </a:lnTo>
                <a:lnTo>
                  <a:pt x="468" y="24"/>
                </a:lnTo>
                <a:lnTo>
                  <a:pt x="462" y="24"/>
                </a:lnTo>
                <a:lnTo>
                  <a:pt x="468" y="18"/>
                </a:lnTo>
                <a:lnTo>
                  <a:pt x="474" y="12"/>
                </a:lnTo>
                <a:lnTo>
                  <a:pt x="474" y="6"/>
                </a:lnTo>
                <a:lnTo>
                  <a:pt x="480" y="6"/>
                </a:lnTo>
                <a:lnTo>
                  <a:pt x="480" y="0"/>
                </a:lnTo>
                <a:lnTo>
                  <a:pt x="486" y="0"/>
                </a:lnTo>
                <a:lnTo>
                  <a:pt x="492" y="0"/>
                </a:lnTo>
                <a:lnTo>
                  <a:pt x="492" y="6"/>
                </a:lnTo>
                <a:lnTo>
                  <a:pt x="498" y="0"/>
                </a:lnTo>
                <a:lnTo>
                  <a:pt x="498" y="6"/>
                </a:lnTo>
                <a:lnTo>
                  <a:pt x="492" y="12"/>
                </a:lnTo>
                <a:lnTo>
                  <a:pt x="492" y="18"/>
                </a:lnTo>
                <a:lnTo>
                  <a:pt x="498" y="18"/>
                </a:lnTo>
                <a:lnTo>
                  <a:pt x="504" y="12"/>
                </a:lnTo>
                <a:lnTo>
                  <a:pt x="504" y="18"/>
                </a:lnTo>
                <a:lnTo>
                  <a:pt x="510" y="18"/>
                </a:lnTo>
                <a:lnTo>
                  <a:pt x="510" y="24"/>
                </a:lnTo>
                <a:lnTo>
                  <a:pt x="504" y="30"/>
                </a:lnTo>
                <a:lnTo>
                  <a:pt x="510" y="30"/>
                </a:lnTo>
                <a:lnTo>
                  <a:pt x="516" y="30"/>
                </a:lnTo>
                <a:lnTo>
                  <a:pt x="522" y="30"/>
                </a:lnTo>
                <a:lnTo>
                  <a:pt x="522" y="36"/>
                </a:lnTo>
                <a:lnTo>
                  <a:pt x="528" y="36"/>
                </a:lnTo>
                <a:lnTo>
                  <a:pt x="534" y="36"/>
                </a:lnTo>
                <a:lnTo>
                  <a:pt x="534" y="30"/>
                </a:lnTo>
                <a:lnTo>
                  <a:pt x="540" y="30"/>
                </a:lnTo>
                <a:lnTo>
                  <a:pt x="546" y="30"/>
                </a:lnTo>
                <a:lnTo>
                  <a:pt x="546" y="36"/>
                </a:lnTo>
                <a:lnTo>
                  <a:pt x="552" y="36"/>
                </a:lnTo>
                <a:lnTo>
                  <a:pt x="558" y="36"/>
                </a:lnTo>
                <a:lnTo>
                  <a:pt x="558" y="30"/>
                </a:lnTo>
                <a:lnTo>
                  <a:pt x="564" y="30"/>
                </a:lnTo>
                <a:lnTo>
                  <a:pt x="564" y="24"/>
                </a:lnTo>
                <a:lnTo>
                  <a:pt x="570" y="24"/>
                </a:lnTo>
                <a:lnTo>
                  <a:pt x="576" y="24"/>
                </a:lnTo>
                <a:lnTo>
                  <a:pt x="576" y="30"/>
                </a:lnTo>
                <a:lnTo>
                  <a:pt x="582" y="30"/>
                </a:lnTo>
                <a:lnTo>
                  <a:pt x="588" y="30"/>
                </a:lnTo>
                <a:lnTo>
                  <a:pt x="594" y="30"/>
                </a:lnTo>
                <a:lnTo>
                  <a:pt x="594" y="36"/>
                </a:lnTo>
                <a:lnTo>
                  <a:pt x="594" y="42"/>
                </a:lnTo>
                <a:lnTo>
                  <a:pt x="600" y="48"/>
                </a:lnTo>
                <a:lnTo>
                  <a:pt x="606" y="54"/>
                </a:lnTo>
                <a:lnTo>
                  <a:pt x="612" y="54"/>
                </a:lnTo>
                <a:lnTo>
                  <a:pt x="618" y="54"/>
                </a:lnTo>
                <a:lnTo>
                  <a:pt x="618" y="60"/>
                </a:lnTo>
                <a:lnTo>
                  <a:pt x="624" y="60"/>
                </a:lnTo>
                <a:lnTo>
                  <a:pt x="630" y="60"/>
                </a:lnTo>
                <a:lnTo>
                  <a:pt x="636" y="60"/>
                </a:lnTo>
                <a:lnTo>
                  <a:pt x="642" y="60"/>
                </a:lnTo>
                <a:lnTo>
                  <a:pt x="648" y="60"/>
                </a:lnTo>
                <a:lnTo>
                  <a:pt x="654" y="60"/>
                </a:lnTo>
                <a:lnTo>
                  <a:pt x="654" y="66"/>
                </a:lnTo>
                <a:lnTo>
                  <a:pt x="654" y="72"/>
                </a:lnTo>
                <a:lnTo>
                  <a:pt x="660" y="66"/>
                </a:lnTo>
                <a:lnTo>
                  <a:pt x="666" y="66"/>
                </a:lnTo>
                <a:lnTo>
                  <a:pt x="666" y="72"/>
                </a:lnTo>
                <a:lnTo>
                  <a:pt x="660" y="72"/>
                </a:lnTo>
                <a:lnTo>
                  <a:pt x="660" y="78"/>
                </a:lnTo>
                <a:lnTo>
                  <a:pt x="666" y="78"/>
                </a:lnTo>
                <a:lnTo>
                  <a:pt x="666" y="84"/>
                </a:lnTo>
                <a:lnTo>
                  <a:pt x="672" y="84"/>
                </a:lnTo>
                <a:lnTo>
                  <a:pt x="678" y="84"/>
                </a:lnTo>
                <a:lnTo>
                  <a:pt x="684" y="84"/>
                </a:lnTo>
                <a:lnTo>
                  <a:pt x="684" y="78"/>
                </a:lnTo>
                <a:lnTo>
                  <a:pt x="690" y="78"/>
                </a:lnTo>
                <a:lnTo>
                  <a:pt x="690" y="72"/>
                </a:lnTo>
                <a:lnTo>
                  <a:pt x="696" y="72"/>
                </a:lnTo>
                <a:lnTo>
                  <a:pt x="696" y="66"/>
                </a:lnTo>
                <a:lnTo>
                  <a:pt x="702" y="66"/>
                </a:lnTo>
                <a:lnTo>
                  <a:pt x="708" y="66"/>
                </a:lnTo>
                <a:lnTo>
                  <a:pt x="708" y="72"/>
                </a:lnTo>
                <a:lnTo>
                  <a:pt x="714" y="72"/>
                </a:lnTo>
                <a:lnTo>
                  <a:pt x="720" y="72"/>
                </a:lnTo>
                <a:lnTo>
                  <a:pt x="726" y="72"/>
                </a:lnTo>
                <a:lnTo>
                  <a:pt x="732" y="72"/>
                </a:lnTo>
                <a:lnTo>
                  <a:pt x="732" y="66"/>
                </a:lnTo>
                <a:lnTo>
                  <a:pt x="738" y="60"/>
                </a:lnTo>
                <a:lnTo>
                  <a:pt x="738" y="54"/>
                </a:lnTo>
                <a:lnTo>
                  <a:pt x="744" y="54"/>
                </a:lnTo>
                <a:lnTo>
                  <a:pt x="750" y="54"/>
                </a:lnTo>
                <a:lnTo>
                  <a:pt x="750" y="48"/>
                </a:lnTo>
                <a:lnTo>
                  <a:pt x="756" y="48"/>
                </a:lnTo>
                <a:lnTo>
                  <a:pt x="756" y="54"/>
                </a:lnTo>
                <a:lnTo>
                  <a:pt x="762" y="54"/>
                </a:lnTo>
                <a:lnTo>
                  <a:pt x="762" y="60"/>
                </a:lnTo>
                <a:lnTo>
                  <a:pt x="768" y="60"/>
                </a:lnTo>
                <a:lnTo>
                  <a:pt x="768" y="54"/>
                </a:lnTo>
                <a:lnTo>
                  <a:pt x="774" y="48"/>
                </a:lnTo>
                <a:lnTo>
                  <a:pt x="780" y="42"/>
                </a:lnTo>
                <a:lnTo>
                  <a:pt x="774" y="42"/>
                </a:lnTo>
                <a:lnTo>
                  <a:pt x="774" y="36"/>
                </a:lnTo>
                <a:lnTo>
                  <a:pt x="780" y="30"/>
                </a:lnTo>
                <a:lnTo>
                  <a:pt x="780" y="24"/>
                </a:lnTo>
                <a:lnTo>
                  <a:pt x="786" y="24"/>
                </a:lnTo>
                <a:lnTo>
                  <a:pt x="792" y="24"/>
                </a:lnTo>
                <a:lnTo>
                  <a:pt x="792" y="30"/>
                </a:lnTo>
                <a:lnTo>
                  <a:pt x="798" y="30"/>
                </a:lnTo>
                <a:lnTo>
                  <a:pt x="804" y="30"/>
                </a:lnTo>
                <a:lnTo>
                  <a:pt x="810" y="30"/>
                </a:lnTo>
                <a:lnTo>
                  <a:pt x="816" y="36"/>
                </a:lnTo>
                <a:lnTo>
                  <a:pt x="822" y="36"/>
                </a:lnTo>
                <a:lnTo>
                  <a:pt x="822" y="42"/>
                </a:lnTo>
                <a:lnTo>
                  <a:pt x="822" y="48"/>
                </a:lnTo>
                <a:lnTo>
                  <a:pt x="828" y="48"/>
                </a:lnTo>
                <a:lnTo>
                  <a:pt x="828" y="54"/>
                </a:lnTo>
                <a:lnTo>
                  <a:pt x="834" y="54"/>
                </a:lnTo>
                <a:lnTo>
                  <a:pt x="840" y="54"/>
                </a:lnTo>
                <a:lnTo>
                  <a:pt x="846" y="54"/>
                </a:lnTo>
                <a:lnTo>
                  <a:pt x="852" y="54"/>
                </a:lnTo>
                <a:lnTo>
                  <a:pt x="858" y="54"/>
                </a:lnTo>
                <a:lnTo>
                  <a:pt x="858" y="60"/>
                </a:lnTo>
                <a:lnTo>
                  <a:pt x="864" y="60"/>
                </a:lnTo>
                <a:lnTo>
                  <a:pt x="870" y="66"/>
                </a:lnTo>
                <a:lnTo>
                  <a:pt x="876" y="66"/>
                </a:lnTo>
                <a:lnTo>
                  <a:pt x="882" y="72"/>
                </a:lnTo>
                <a:lnTo>
                  <a:pt x="882" y="78"/>
                </a:lnTo>
                <a:lnTo>
                  <a:pt x="882" y="84"/>
                </a:lnTo>
                <a:lnTo>
                  <a:pt x="876" y="84"/>
                </a:lnTo>
                <a:lnTo>
                  <a:pt x="876" y="90"/>
                </a:lnTo>
                <a:lnTo>
                  <a:pt x="876" y="96"/>
                </a:lnTo>
                <a:lnTo>
                  <a:pt x="876" y="102"/>
                </a:lnTo>
                <a:lnTo>
                  <a:pt x="876" y="108"/>
                </a:lnTo>
                <a:lnTo>
                  <a:pt x="882" y="108"/>
                </a:lnTo>
                <a:lnTo>
                  <a:pt x="882" y="114"/>
                </a:lnTo>
                <a:lnTo>
                  <a:pt x="888" y="114"/>
                </a:lnTo>
                <a:lnTo>
                  <a:pt x="888" y="120"/>
                </a:lnTo>
                <a:lnTo>
                  <a:pt x="888" y="126"/>
                </a:lnTo>
                <a:lnTo>
                  <a:pt x="894" y="126"/>
                </a:lnTo>
                <a:lnTo>
                  <a:pt x="894" y="132"/>
                </a:lnTo>
                <a:lnTo>
                  <a:pt x="900" y="132"/>
                </a:lnTo>
                <a:lnTo>
                  <a:pt x="900" y="138"/>
                </a:lnTo>
                <a:lnTo>
                  <a:pt x="906" y="138"/>
                </a:lnTo>
                <a:lnTo>
                  <a:pt x="912" y="138"/>
                </a:lnTo>
                <a:lnTo>
                  <a:pt x="918" y="138"/>
                </a:lnTo>
                <a:lnTo>
                  <a:pt x="918" y="132"/>
                </a:lnTo>
                <a:lnTo>
                  <a:pt x="924" y="132"/>
                </a:lnTo>
                <a:lnTo>
                  <a:pt x="930" y="132"/>
                </a:lnTo>
                <a:lnTo>
                  <a:pt x="930" y="138"/>
                </a:lnTo>
                <a:lnTo>
                  <a:pt x="936" y="144"/>
                </a:lnTo>
                <a:lnTo>
                  <a:pt x="942" y="150"/>
                </a:lnTo>
                <a:lnTo>
                  <a:pt x="948" y="150"/>
                </a:lnTo>
                <a:lnTo>
                  <a:pt x="948" y="156"/>
                </a:lnTo>
                <a:lnTo>
                  <a:pt x="954" y="156"/>
                </a:lnTo>
                <a:lnTo>
                  <a:pt x="954" y="150"/>
                </a:lnTo>
                <a:lnTo>
                  <a:pt x="960" y="150"/>
                </a:lnTo>
                <a:lnTo>
                  <a:pt x="966" y="150"/>
                </a:lnTo>
                <a:lnTo>
                  <a:pt x="972" y="150"/>
                </a:lnTo>
                <a:lnTo>
                  <a:pt x="978" y="156"/>
                </a:lnTo>
                <a:lnTo>
                  <a:pt x="978" y="162"/>
                </a:lnTo>
                <a:lnTo>
                  <a:pt x="984" y="162"/>
                </a:lnTo>
                <a:lnTo>
                  <a:pt x="984" y="168"/>
                </a:lnTo>
                <a:lnTo>
                  <a:pt x="984" y="174"/>
                </a:lnTo>
                <a:lnTo>
                  <a:pt x="984" y="180"/>
                </a:lnTo>
                <a:lnTo>
                  <a:pt x="978" y="186"/>
                </a:lnTo>
                <a:lnTo>
                  <a:pt x="978" y="192"/>
                </a:lnTo>
                <a:lnTo>
                  <a:pt x="984" y="198"/>
                </a:lnTo>
                <a:lnTo>
                  <a:pt x="978" y="204"/>
                </a:lnTo>
                <a:lnTo>
                  <a:pt x="972" y="210"/>
                </a:lnTo>
                <a:lnTo>
                  <a:pt x="966" y="216"/>
                </a:lnTo>
                <a:lnTo>
                  <a:pt x="960" y="222"/>
                </a:lnTo>
                <a:lnTo>
                  <a:pt x="960" y="228"/>
                </a:lnTo>
                <a:lnTo>
                  <a:pt x="966" y="228"/>
                </a:lnTo>
                <a:lnTo>
                  <a:pt x="966" y="234"/>
                </a:lnTo>
                <a:lnTo>
                  <a:pt x="972" y="234"/>
                </a:lnTo>
                <a:lnTo>
                  <a:pt x="972" y="240"/>
                </a:lnTo>
                <a:lnTo>
                  <a:pt x="978" y="240"/>
                </a:lnTo>
                <a:lnTo>
                  <a:pt x="978" y="246"/>
                </a:lnTo>
                <a:lnTo>
                  <a:pt x="984" y="246"/>
                </a:lnTo>
                <a:lnTo>
                  <a:pt x="984" y="240"/>
                </a:lnTo>
                <a:lnTo>
                  <a:pt x="984" y="246"/>
                </a:lnTo>
                <a:lnTo>
                  <a:pt x="990" y="246"/>
                </a:lnTo>
                <a:lnTo>
                  <a:pt x="990" y="252"/>
                </a:lnTo>
                <a:lnTo>
                  <a:pt x="996" y="252"/>
                </a:lnTo>
                <a:lnTo>
                  <a:pt x="996" y="258"/>
                </a:lnTo>
                <a:lnTo>
                  <a:pt x="1002" y="258"/>
                </a:lnTo>
                <a:lnTo>
                  <a:pt x="1002" y="264"/>
                </a:lnTo>
                <a:lnTo>
                  <a:pt x="1002" y="270"/>
                </a:lnTo>
                <a:lnTo>
                  <a:pt x="1002" y="276"/>
                </a:lnTo>
                <a:lnTo>
                  <a:pt x="996" y="276"/>
                </a:lnTo>
                <a:lnTo>
                  <a:pt x="990" y="276"/>
                </a:lnTo>
                <a:lnTo>
                  <a:pt x="990" y="282"/>
                </a:lnTo>
                <a:lnTo>
                  <a:pt x="984" y="282"/>
                </a:lnTo>
                <a:lnTo>
                  <a:pt x="990" y="282"/>
                </a:lnTo>
                <a:lnTo>
                  <a:pt x="990" y="288"/>
                </a:lnTo>
                <a:lnTo>
                  <a:pt x="990" y="294"/>
                </a:lnTo>
                <a:lnTo>
                  <a:pt x="996" y="294"/>
                </a:lnTo>
                <a:lnTo>
                  <a:pt x="1002" y="294"/>
                </a:lnTo>
                <a:lnTo>
                  <a:pt x="1002" y="288"/>
                </a:lnTo>
                <a:lnTo>
                  <a:pt x="1008" y="288"/>
                </a:lnTo>
                <a:lnTo>
                  <a:pt x="1014" y="288"/>
                </a:lnTo>
                <a:lnTo>
                  <a:pt x="1020" y="288"/>
                </a:lnTo>
                <a:lnTo>
                  <a:pt x="1020" y="294"/>
                </a:lnTo>
                <a:lnTo>
                  <a:pt x="1020" y="300"/>
                </a:lnTo>
                <a:lnTo>
                  <a:pt x="1026" y="300"/>
                </a:lnTo>
                <a:lnTo>
                  <a:pt x="1026" y="306"/>
                </a:lnTo>
                <a:lnTo>
                  <a:pt x="1020" y="306"/>
                </a:lnTo>
                <a:lnTo>
                  <a:pt x="1026" y="306"/>
                </a:lnTo>
                <a:lnTo>
                  <a:pt x="1032" y="306"/>
                </a:lnTo>
                <a:lnTo>
                  <a:pt x="1032" y="300"/>
                </a:lnTo>
                <a:lnTo>
                  <a:pt x="1038" y="300"/>
                </a:lnTo>
                <a:lnTo>
                  <a:pt x="1044" y="300"/>
                </a:lnTo>
                <a:lnTo>
                  <a:pt x="1044" y="294"/>
                </a:lnTo>
                <a:lnTo>
                  <a:pt x="1044" y="288"/>
                </a:lnTo>
                <a:lnTo>
                  <a:pt x="1056" y="294"/>
                </a:lnTo>
                <a:lnTo>
                  <a:pt x="1056" y="288"/>
                </a:lnTo>
                <a:lnTo>
                  <a:pt x="1056" y="282"/>
                </a:lnTo>
                <a:lnTo>
                  <a:pt x="1050" y="282"/>
                </a:lnTo>
                <a:lnTo>
                  <a:pt x="1050" y="276"/>
                </a:lnTo>
                <a:lnTo>
                  <a:pt x="1056" y="276"/>
                </a:lnTo>
                <a:lnTo>
                  <a:pt x="1062" y="276"/>
                </a:lnTo>
                <a:lnTo>
                  <a:pt x="1062" y="282"/>
                </a:lnTo>
                <a:lnTo>
                  <a:pt x="1062" y="288"/>
                </a:lnTo>
                <a:lnTo>
                  <a:pt x="1068" y="288"/>
                </a:lnTo>
                <a:lnTo>
                  <a:pt x="1068" y="282"/>
                </a:lnTo>
                <a:lnTo>
                  <a:pt x="1074" y="282"/>
                </a:lnTo>
                <a:lnTo>
                  <a:pt x="1074" y="276"/>
                </a:lnTo>
                <a:lnTo>
                  <a:pt x="1074" y="270"/>
                </a:lnTo>
                <a:lnTo>
                  <a:pt x="1080" y="276"/>
                </a:lnTo>
                <a:lnTo>
                  <a:pt x="1086" y="276"/>
                </a:lnTo>
                <a:lnTo>
                  <a:pt x="1092" y="276"/>
                </a:lnTo>
                <a:lnTo>
                  <a:pt x="1098" y="276"/>
                </a:lnTo>
                <a:lnTo>
                  <a:pt x="1098" y="282"/>
                </a:lnTo>
                <a:lnTo>
                  <a:pt x="1104" y="282"/>
                </a:lnTo>
                <a:lnTo>
                  <a:pt x="1104" y="288"/>
                </a:lnTo>
                <a:lnTo>
                  <a:pt x="1110" y="288"/>
                </a:lnTo>
                <a:lnTo>
                  <a:pt x="1110" y="294"/>
                </a:lnTo>
                <a:lnTo>
                  <a:pt x="1116" y="294"/>
                </a:lnTo>
                <a:lnTo>
                  <a:pt x="1110" y="294"/>
                </a:lnTo>
                <a:lnTo>
                  <a:pt x="1110" y="300"/>
                </a:lnTo>
                <a:lnTo>
                  <a:pt x="1110" y="306"/>
                </a:lnTo>
                <a:lnTo>
                  <a:pt x="1116" y="306"/>
                </a:lnTo>
                <a:lnTo>
                  <a:pt x="1122" y="312"/>
                </a:lnTo>
                <a:lnTo>
                  <a:pt x="1122" y="306"/>
                </a:lnTo>
                <a:lnTo>
                  <a:pt x="1128" y="306"/>
                </a:lnTo>
                <a:lnTo>
                  <a:pt x="1134" y="306"/>
                </a:lnTo>
                <a:lnTo>
                  <a:pt x="1140" y="306"/>
                </a:lnTo>
                <a:lnTo>
                  <a:pt x="1146" y="306"/>
                </a:lnTo>
                <a:lnTo>
                  <a:pt x="1152" y="306"/>
                </a:lnTo>
                <a:lnTo>
                  <a:pt x="1152" y="312"/>
                </a:lnTo>
                <a:lnTo>
                  <a:pt x="1152" y="318"/>
                </a:lnTo>
                <a:lnTo>
                  <a:pt x="1158" y="318"/>
                </a:lnTo>
                <a:lnTo>
                  <a:pt x="1164" y="318"/>
                </a:lnTo>
                <a:lnTo>
                  <a:pt x="1164" y="324"/>
                </a:lnTo>
                <a:lnTo>
                  <a:pt x="1170" y="324"/>
                </a:lnTo>
                <a:lnTo>
                  <a:pt x="1170" y="330"/>
                </a:lnTo>
                <a:lnTo>
                  <a:pt x="1170" y="336"/>
                </a:lnTo>
                <a:lnTo>
                  <a:pt x="1176" y="336"/>
                </a:lnTo>
                <a:lnTo>
                  <a:pt x="1170" y="342"/>
                </a:lnTo>
                <a:lnTo>
                  <a:pt x="1170" y="348"/>
                </a:lnTo>
                <a:lnTo>
                  <a:pt x="1176" y="348"/>
                </a:lnTo>
                <a:lnTo>
                  <a:pt x="1176" y="354"/>
                </a:lnTo>
                <a:lnTo>
                  <a:pt x="1182" y="354"/>
                </a:lnTo>
                <a:lnTo>
                  <a:pt x="1188" y="360"/>
                </a:lnTo>
                <a:lnTo>
                  <a:pt x="1182" y="360"/>
                </a:lnTo>
                <a:lnTo>
                  <a:pt x="1176" y="360"/>
                </a:lnTo>
                <a:lnTo>
                  <a:pt x="1170" y="360"/>
                </a:lnTo>
                <a:lnTo>
                  <a:pt x="1164" y="360"/>
                </a:lnTo>
                <a:lnTo>
                  <a:pt x="1158" y="360"/>
                </a:lnTo>
                <a:lnTo>
                  <a:pt x="1152" y="360"/>
                </a:lnTo>
                <a:lnTo>
                  <a:pt x="1152" y="366"/>
                </a:lnTo>
                <a:lnTo>
                  <a:pt x="1158" y="366"/>
                </a:lnTo>
                <a:lnTo>
                  <a:pt x="1164" y="366"/>
                </a:lnTo>
                <a:lnTo>
                  <a:pt x="1170" y="366"/>
                </a:lnTo>
                <a:lnTo>
                  <a:pt x="1170" y="372"/>
                </a:lnTo>
                <a:lnTo>
                  <a:pt x="1170" y="378"/>
                </a:lnTo>
                <a:lnTo>
                  <a:pt x="1170" y="384"/>
                </a:lnTo>
                <a:lnTo>
                  <a:pt x="1176" y="390"/>
                </a:lnTo>
                <a:lnTo>
                  <a:pt x="1170" y="390"/>
                </a:lnTo>
                <a:lnTo>
                  <a:pt x="1176" y="390"/>
                </a:lnTo>
                <a:lnTo>
                  <a:pt x="1176" y="396"/>
                </a:lnTo>
                <a:lnTo>
                  <a:pt x="1176" y="402"/>
                </a:lnTo>
                <a:lnTo>
                  <a:pt x="1176" y="408"/>
                </a:lnTo>
                <a:lnTo>
                  <a:pt x="1176" y="414"/>
                </a:lnTo>
                <a:lnTo>
                  <a:pt x="1182" y="414"/>
                </a:lnTo>
                <a:lnTo>
                  <a:pt x="1188" y="414"/>
                </a:lnTo>
                <a:lnTo>
                  <a:pt x="1188" y="420"/>
                </a:lnTo>
                <a:lnTo>
                  <a:pt x="1194" y="420"/>
                </a:lnTo>
                <a:lnTo>
                  <a:pt x="1200" y="420"/>
                </a:lnTo>
                <a:lnTo>
                  <a:pt x="1206" y="420"/>
                </a:lnTo>
                <a:lnTo>
                  <a:pt x="1206" y="426"/>
                </a:lnTo>
                <a:lnTo>
                  <a:pt x="1212" y="426"/>
                </a:lnTo>
                <a:lnTo>
                  <a:pt x="1212" y="432"/>
                </a:lnTo>
                <a:lnTo>
                  <a:pt x="1212" y="438"/>
                </a:lnTo>
                <a:lnTo>
                  <a:pt x="1218" y="444"/>
                </a:lnTo>
                <a:lnTo>
                  <a:pt x="1218" y="450"/>
                </a:lnTo>
                <a:lnTo>
                  <a:pt x="1218" y="456"/>
                </a:lnTo>
                <a:lnTo>
                  <a:pt x="1218" y="462"/>
                </a:lnTo>
                <a:lnTo>
                  <a:pt x="1218" y="468"/>
                </a:lnTo>
                <a:lnTo>
                  <a:pt x="1212" y="468"/>
                </a:lnTo>
                <a:lnTo>
                  <a:pt x="1206" y="468"/>
                </a:lnTo>
                <a:lnTo>
                  <a:pt x="1206" y="474"/>
                </a:lnTo>
                <a:lnTo>
                  <a:pt x="1206" y="480"/>
                </a:lnTo>
                <a:lnTo>
                  <a:pt x="1206" y="486"/>
                </a:lnTo>
                <a:lnTo>
                  <a:pt x="1200" y="486"/>
                </a:lnTo>
                <a:lnTo>
                  <a:pt x="1194" y="486"/>
                </a:lnTo>
                <a:lnTo>
                  <a:pt x="1188" y="486"/>
                </a:lnTo>
                <a:lnTo>
                  <a:pt x="1182" y="480"/>
                </a:lnTo>
                <a:lnTo>
                  <a:pt x="1176" y="480"/>
                </a:lnTo>
                <a:lnTo>
                  <a:pt x="1170" y="480"/>
                </a:lnTo>
                <a:lnTo>
                  <a:pt x="1164" y="480"/>
                </a:lnTo>
                <a:lnTo>
                  <a:pt x="1158" y="480"/>
                </a:lnTo>
                <a:lnTo>
                  <a:pt x="1152" y="474"/>
                </a:lnTo>
                <a:lnTo>
                  <a:pt x="1152" y="468"/>
                </a:lnTo>
                <a:lnTo>
                  <a:pt x="1146" y="468"/>
                </a:lnTo>
                <a:lnTo>
                  <a:pt x="1140" y="468"/>
                </a:lnTo>
                <a:lnTo>
                  <a:pt x="1134" y="468"/>
                </a:lnTo>
                <a:lnTo>
                  <a:pt x="1128" y="468"/>
                </a:lnTo>
                <a:lnTo>
                  <a:pt x="1128" y="462"/>
                </a:lnTo>
                <a:lnTo>
                  <a:pt x="1122" y="462"/>
                </a:lnTo>
                <a:lnTo>
                  <a:pt x="1122" y="468"/>
                </a:lnTo>
                <a:lnTo>
                  <a:pt x="1122" y="474"/>
                </a:lnTo>
                <a:lnTo>
                  <a:pt x="1116" y="474"/>
                </a:lnTo>
                <a:lnTo>
                  <a:pt x="1116" y="468"/>
                </a:lnTo>
                <a:lnTo>
                  <a:pt x="1116" y="474"/>
                </a:lnTo>
                <a:lnTo>
                  <a:pt x="1116" y="480"/>
                </a:lnTo>
                <a:lnTo>
                  <a:pt x="1110" y="480"/>
                </a:lnTo>
                <a:lnTo>
                  <a:pt x="1104" y="486"/>
                </a:lnTo>
                <a:lnTo>
                  <a:pt x="1098" y="486"/>
                </a:lnTo>
                <a:lnTo>
                  <a:pt x="1092" y="486"/>
                </a:lnTo>
                <a:lnTo>
                  <a:pt x="1092" y="492"/>
                </a:lnTo>
                <a:lnTo>
                  <a:pt x="1098" y="492"/>
                </a:lnTo>
                <a:lnTo>
                  <a:pt x="1098" y="498"/>
                </a:lnTo>
                <a:lnTo>
                  <a:pt x="1092" y="498"/>
                </a:lnTo>
                <a:lnTo>
                  <a:pt x="1098" y="498"/>
                </a:lnTo>
                <a:lnTo>
                  <a:pt x="1098" y="504"/>
                </a:lnTo>
                <a:lnTo>
                  <a:pt x="1098" y="510"/>
                </a:lnTo>
                <a:lnTo>
                  <a:pt x="1092" y="510"/>
                </a:lnTo>
                <a:lnTo>
                  <a:pt x="1098" y="516"/>
                </a:lnTo>
                <a:lnTo>
                  <a:pt x="1104" y="516"/>
                </a:lnTo>
                <a:lnTo>
                  <a:pt x="1110" y="516"/>
                </a:lnTo>
                <a:lnTo>
                  <a:pt x="1110" y="522"/>
                </a:lnTo>
                <a:lnTo>
                  <a:pt x="1116" y="528"/>
                </a:lnTo>
                <a:lnTo>
                  <a:pt x="1116" y="534"/>
                </a:lnTo>
                <a:lnTo>
                  <a:pt x="1110" y="534"/>
                </a:lnTo>
                <a:lnTo>
                  <a:pt x="1116" y="540"/>
                </a:lnTo>
                <a:lnTo>
                  <a:pt x="1122" y="540"/>
                </a:lnTo>
                <a:lnTo>
                  <a:pt x="1122" y="546"/>
                </a:lnTo>
                <a:lnTo>
                  <a:pt x="1122" y="552"/>
                </a:lnTo>
                <a:lnTo>
                  <a:pt x="1122" y="558"/>
                </a:lnTo>
                <a:lnTo>
                  <a:pt x="1128" y="558"/>
                </a:lnTo>
                <a:lnTo>
                  <a:pt x="1134" y="558"/>
                </a:lnTo>
                <a:lnTo>
                  <a:pt x="1140" y="558"/>
                </a:lnTo>
                <a:lnTo>
                  <a:pt x="1140" y="564"/>
                </a:lnTo>
                <a:lnTo>
                  <a:pt x="1140" y="570"/>
                </a:lnTo>
                <a:lnTo>
                  <a:pt x="1140" y="576"/>
                </a:lnTo>
                <a:lnTo>
                  <a:pt x="1140" y="582"/>
                </a:lnTo>
                <a:lnTo>
                  <a:pt x="1140" y="588"/>
                </a:lnTo>
                <a:lnTo>
                  <a:pt x="1140" y="594"/>
                </a:lnTo>
                <a:lnTo>
                  <a:pt x="1140" y="600"/>
                </a:lnTo>
                <a:lnTo>
                  <a:pt x="1140" y="606"/>
                </a:lnTo>
                <a:lnTo>
                  <a:pt x="1146" y="612"/>
                </a:lnTo>
                <a:lnTo>
                  <a:pt x="1152" y="612"/>
                </a:lnTo>
                <a:lnTo>
                  <a:pt x="1158" y="612"/>
                </a:lnTo>
                <a:lnTo>
                  <a:pt x="1164" y="606"/>
                </a:lnTo>
                <a:lnTo>
                  <a:pt x="1170" y="606"/>
                </a:lnTo>
                <a:lnTo>
                  <a:pt x="1176" y="606"/>
                </a:lnTo>
                <a:lnTo>
                  <a:pt x="1176" y="612"/>
                </a:lnTo>
                <a:lnTo>
                  <a:pt x="1176" y="618"/>
                </a:lnTo>
                <a:lnTo>
                  <a:pt x="1176" y="624"/>
                </a:lnTo>
                <a:lnTo>
                  <a:pt x="1176" y="630"/>
                </a:lnTo>
                <a:lnTo>
                  <a:pt x="1182" y="630"/>
                </a:lnTo>
                <a:lnTo>
                  <a:pt x="1182" y="636"/>
                </a:lnTo>
                <a:lnTo>
                  <a:pt x="1182" y="642"/>
                </a:lnTo>
                <a:lnTo>
                  <a:pt x="1182" y="648"/>
                </a:lnTo>
                <a:lnTo>
                  <a:pt x="1170" y="654"/>
                </a:lnTo>
                <a:lnTo>
                  <a:pt x="1164" y="660"/>
                </a:lnTo>
                <a:lnTo>
                  <a:pt x="1164" y="666"/>
                </a:lnTo>
                <a:lnTo>
                  <a:pt x="1170" y="672"/>
                </a:lnTo>
                <a:lnTo>
                  <a:pt x="1170" y="678"/>
                </a:lnTo>
                <a:lnTo>
                  <a:pt x="1170" y="684"/>
                </a:lnTo>
                <a:lnTo>
                  <a:pt x="1164" y="684"/>
                </a:lnTo>
                <a:lnTo>
                  <a:pt x="1158" y="684"/>
                </a:lnTo>
                <a:lnTo>
                  <a:pt x="1152" y="690"/>
                </a:lnTo>
                <a:lnTo>
                  <a:pt x="1152" y="684"/>
                </a:lnTo>
                <a:lnTo>
                  <a:pt x="1152" y="690"/>
                </a:lnTo>
                <a:lnTo>
                  <a:pt x="1146" y="696"/>
                </a:lnTo>
                <a:lnTo>
                  <a:pt x="1146" y="702"/>
                </a:lnTo>
                <a:lnTo>
                  <a:pt x="1146" y="708"/>
                </a:lnTo>
                <a:lnTo>
                  <a:pt x="1140" y="714"/>
                </a:lnTo>
                <a:lnTo>
                  <a:pt x="1146" y="714"/>
                </a:lnTo>
                <a:lnTo>
                  <a:pt x="1146" y="720"/>
                </a:lnTo>
                <a:lnTo>
                  <a:pt x="1140" y="720"/>
                </a:lnTo>
                <a:lnTo>
                  <a:pt x="1140" y="726"/>
                </a:lnTo>
                <a:lnTo>
                  <a:pt x="1140" y="732"/>
                </a:lnTo>
                <a:lnTo>
                  <a:pt x="1146" y="732"/>
                </a:lnTo>
                <a:lnTo>
                  <a:pt x="1152" y="738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0" name="Freeform 16">
            <a:extLst>
              <a:ext uri="{FF2B5EF4-FFF2-40B4-BE49-F238E27FC236}">
                <a16:creationId xmlns:a16="http://schemas.microsoft.com/office/drawing/2014/main" id="{7754558D-7701-492D-8C82-E1A7C1644D61}"/>
              </a:ext>
            </a:extLst>
          </p:cNvPr>
          <p:cNvSpPr>
            <a:spLocks/>
          </p:cNvSpPr>
          <p:nvPr/>
        </p:nvSpPr>
        <p:spPr bwMode="gray">
          <a:xfrm rot="533595">
            <a:off x="6195363" y="4192080"/>
            <a:ext cx="957936" cy="761904"/>
          </a:xfrm>
          <a:custGeom>
            <a:avLst/>
            <a:gdLst>
              <a:gd name="T0" fmla="*/ 1014 w 1056"/>
              <a:gd name="T1" fmla="*/ 180 h 900"/>
              <a:gd name="T2" fmla="*/ 1044 w 1056"/>
              <a:gd name="T3" fmla="*/ 270 h 900"/>
              <a:gd name="T4" fmla="*/ 1050 w 1056"/>
              <a:gd name="T5" fmla="*/ 360 h 900"/>
              <a:gd name="T6" fmla="*/ 1032 w 1056"/>
              <a:gd name="T7" fmla="*/ 432 h 900"/>
              <a:gd name="T8" fmla="*/ 990 w 1056"/>
              <a:gd name="T9" fmla="*/ 474 h 900"/>
              <a:gd name="T10" fmla="*/ 942 w 1056"/>
              <a:gd name="T11" fmla="*/ 558 h 900"/>
              <a:gd name="T12" fmla="*/ 894 w 1056"/>
              <a:gd name="T13" fmla="*/ 618 h 900"/>
              <a:gd name="T14" fmla="*/ 822 w 1056"/>
              <a:gd name="T15" fmla="*/ 666 h 900"/>
              <a:gd name="T16" fmla="*/ 786 w 1056"/>
              <a:gd name="T17" fmla="*/ 714 h 900"/>
              <a:gd name="T18" fmla="*/ 732 w 1056"/>
              <a:gd name="T19" fmla="*/ 738 h 900"/>
              <a:gd name="T20" fmla="*/ 666 w 1056"/>
              <a:gd name="T21" fmla="*/ 768 h 900"/>
              <a:gd name="T22" fmla="*/ 612 w 1056"/>
              <a:gd name="T23" fmla="*/ 804 h 900"/>
              <a:gd name="T24" fmla="*/ 564 w 1056"/>
              <a:gd name="T25" fmla="*/ 834 h 900"/>
              <a:gd name="T26" fmla="*/ 516 w 1056"/>
              <a:gd name="T27" fmla="*/ 876 h 900"/>
              <a:gd name="T28" fmla="*/ 474 w 1056"/>
              <a:gd name="T29" fmla="*/ 888 h 900"/>
              <a:gd name="T30" fmla="*/ 426 w 1056"/>
              <a:gd name="T31" fmla="*/ 894 h 900"/>
              <a:gd name="T32" fmla="*/ 390 w 1056"/>
              <a:gd name="T33" fmla="*/ 870 h 900"/>
              <a:gd name="T34" fmla="*/ 372 w 1056"/>
              <a:gd name="T35" fmla="*/ 840 h 900"/>
              <a:gd name="T36" fmla="*/ 342 w 1056"/>
              <a:gd name="T37" fmla="*/ 810 h 900"/>
              <a:gd name="T38" fmla="*/ 354 w 1056"/>
              <a:gd name="T39" fmla="*/ 768 h 900"/>
              <a:gd name="T40" fmla="*/ 312 w 1056"/>
              <a:gd name="T41" fmla="*/ 714 h 900"/>
              <a:gd name="T42" fmla="*/ 276 w 1056"/>
              <a:gd name="T43" fmla="*/ 678 h 900"/>
              <a:gd name="T44" fmla="*/ 222 w 1056"/>
              <a:gd name="T45" fmla="*/ 690 h 900"/>
              <a:gd name="T46" fmla="*/ 174 w 1056"/>
              <a:gd name="T47" fmla="*/ 672 h 900"/>
              <a:gd name="T48" fmla="*/ 102 w 1056"/>
              <a:gd name="T49" fmla="*/ 660 h 900"/>
              <a:gd name="T50" fmla="*/ 84 w 1056"/>
              <a:gd name="T51" fmla="*/ 630 h 900"/>
              <a:gd name="T52" fmla="*/ 120 w 1056"/>
              <a:gd name="T53" fmla="*/ 582 h 900"/>
              <a:gd name="T54" fmla="*/ 90 w 1056"/>
              <a:gd name="T55" fmla="*/ 564 h 900"/>
              <a:gd name="T56" fmla="*/ 54 w 1056"/>
              <a:gd name="T57" fmla="*/ 528 h 900"/>
              <a:gd name="T58" fmla="*/ 6 w 1056"/>
              <a:gd name="T59" fmla="*/ 504 h 900"/>
              <a:gd name="T60" fmla="*/ 30 w 1056"/>
              <a:gd name="T61" fmla="*/ 492 h 900"/>
              <a:gd name="T62" fmla="*/ 36 w 1056"/>
              <a:gd name="T63" fmla="*/ 456 h 900"/>
              <a:gd name="T64" fmla="*/ 36 w 1056"/>
              <a:gd name="T65" fmla="*/ 432 h 900"/>
              <a:gd name="T66" fmla="*/ 24 w 1056"/>
              <a:gd name="T67" fmla="*/ 390 h 900"/>
              <a:gd name="T68" fmla="*/ 42 w 1056"/>
              <a:gd name="T69" fmla="*/ 336 h 900"/>
              <a:gd name="T70" fmla="*/ 60 w 1056"/>
              <a:gd name="T71" fmla="*/ 276 h 900"/>
              <a:gd name="T72" fmla="*/ 114 w 1056"/>
              <a:gd name="T73" fmla="*/ 312 h 900"/>
              <a:gd name="T74" fmla="*/ 138 w 1056"/>
              <a:gd name="T75" fmla="*/ 270 h 900"/>
              <a:gd name="T76" fmla="*/ 102 w 1056"/>
              <a:gd name="T77" fmla="*/ 222 h 900"/>
              <a:gd name="T78" fmla="*/ 102 w 1056"/>
              <a:gd name="T79" fmla="*/ 162 h 900"/>
              <a:gd name="T80" fmla="*/ 132 w 1056"/>
              <a:gd name="T81" fmla="*/ 144 h 900"/>
              <a:gd name="T82" fmla="*/ 192 w 1056"/>
              <a:gd name="T83" fmla="*/ 132 h 900"/>
              <a:gd name="T84" fmla="*/ 222 w 1056"/>
              <a:gd name="T85" fmla="*/ 96 h 900"/>
              <a:gd name="T86" fmla="*/ 252 w 1056"/>
              <a:gd name="T87" fmla="*/ 72 h 900"/>
              <a:gd name="T88" fmla="*/ 264 w 1056"/>
              <a:gd name="T89" fmla="*/ 36 h 900"/>
              <a:gd name="T90" fmla="*/ 306 w 1056"/>
              <a:gd name="T91" fmla="*/ 6 h 900"/>
              <a:gd name="T92" fmla="*/ 336 w 1056"/>
              <a:gd name="T93" fmla="*/ 36 h 900"/>
              <a:gd name="T94" fmla="*/ 342 w 1056"/>
              <a:gd name="T95" fmla="*/ 72 h 900"/>
              <a:gd name="T96" fmla="*/ 396 w 1056"/>
              <a:gd name="T97" fmla="*/ 78 h 900"/>
              <a:gd name="T98" fmla="*/ 438 w 1056"/>
              <a:gd name="T99" fmla="*/ 126 h 900"/>
              <a:gd name="T100" fmla="*/ 504 w 1056"/>
              <a:gd name="T101" fmla="*/ 132 h 900"/>
              <a:gd name="T102" fmla="*/ 534 w 1056"/>
              <a:gd name="T103" fmla="*/ 114 h 900"/>
              <a:gd name="T104" fmla="*/ 582 w 1056"/>
              <a:gd name="T105" fmla="*/ 102 h 900"/>
              <a:gd name="T106" fmla="*/ 624 w 1056"/>
              <a:gd name="T107" fmla="*/ 78 h 900"/>
              <a:gd name="T108" fmla="*/ 642 w 1056"/>
              <a:gd name="T109" fmla="*/ 102 h 900"/>
              <a:gd name="T110" fmla="*/ 672 w 1056"/>
              <a:gd name="T111" fmla="*/ 144 h 900"/>
              <a:gd name="T112" fmla="*/ 750 w 1056"/>
              <a:gd name="T113" fmla="*/ 138 h 900"/>
              <a:gd name="T114" fmla="*/ 804 w 1056"/>
              <a:gd name="T115" fmla="*/ 168 h 900"/>
              <a:gd name="T116" fmla="*/ 840 w 1056"/>
              <a:gd name="T117" fmla="*/ 162 h 900"/>
              <a:gd name="T118" fmla="*/ 864 w 1056"/>
              <a:gd name="T119" fmla="*/ 144 h 900"/>
              <a:gd name="T120" fmla="*/ 912 w 1056"/>
              <a:gd name="T121" fmla="*/ 120 h 900"/>
              <a:gd name="T122" fmla="*/ 984 w 1056"/>
              <a:gd name="T123" fmla="*/ 132 h 90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056" h="900">
                <a:moveTo>
                  <a:pt x="990" y="108"/>
                </a:moveTo>
                <a:lnTo>
                  <a:pt x="996" y="114"/>
                </a:lnTo>
                <a:lnTo>
                  <a:pt x="1002" y="114"/>
                </a:lnTo>
                <a:lnTo>
                  <a:pt x="1008" y="120"/>
                </a:lnTo>
                <a:lnTo>
                  <a:pt x="1008" y="126"/>
                </a:lnTo>
                <a:lnTo>
                  <a:pt x="1008" y="132"/>
                </a:lnTo>
                <a:lnTo>
                  <a:pt x="1008" y="138"/>
                </a:lnTo>
                <a:lnTo>
                  <a:pt x="1002" y="138"/>
                </a:lnTo>
                <a:lnTo>
                  <a:pt x="1002" y="144"/>
                </a:lnTo>
                <a:lnTo>
                  <a:pt x="1002" y="150"/>
                </a:lnTo>
                <a:lnTo>
                  <a:pt x="1008" y="150"/>
                </a:lnTo>
                <a:lnTo>
                  <a:pt x="1008" y="156"/>
                </a:lnTo>
                <a:lnTo>
                  <a:pt x="1014" y="162"/>
                </a:lnTo>
                <a:lnTo>
                  <a:pt x="1014" y="168"/>
                </a:lnTo>
                <a:lnTo>
                  <a:pt x="1014" y="174"/>
                </a:lnTo>
                <a:lnTo>
                  <a:pt x="1014" y="180"/>
                </a:lnTo>
                <a:lnTo>
                  <a:pt x="1014" y="186"/>
                </a:lnTo>
                <a:lnTo>
                  <a:pt x="1014" y="192"/>
                </a:lnTo>
                <a:lnTo>
                  <a:pt x="1014" y="198"/>
                </a:lnTo>
                <a:lnTo>
                  <a:pt x="1014" y="204"/>
                </a:lnTo>
                <a:lnTo>
                  <a:pt x="1014" y="210"/>
                </a:lnTo>
                <a:lnTo>
                  <a:pt x="1014" y="216"/>
                </a:lnTo>
                <a:lnTo>
                  <a:pt x="1020" y="216"/>
                </a:lnTo>
                <a:lnTo>
                  <a:pt x="1020" y="222"/>
                </a:lnTo>
                <a:lnTo>
                  <a:pt x="1026" y="228"/>
                </a:lnTo>
                <a:lnTo>
                  <a:pt x="1026" y="234"/>
                </a:lnTo>
                <a:lnTo>
                  <a:pt x="1026" y="240"/>
                </a:lnTo>
                <a:lnTo>
                  <a:pt x="1026" y="246"/>
                </a:lnTo>
                <a:lnTo>
                  <a:pt x="1032" y="252"/>
                </a:lnTo>
                <a:lnTo>
                  <a:pt x="1032" y="258"/>
                </a:lnTo>
                <a:lnTo>
                  <a:pt x="1038" y="264"/>
                </a:lnTo>
                <a:lnTo>
                  <a:pt x="1044" y="270"/>
                </a:lnTo>
                <a:lnTo>
                  <a:pt x="1038" y="276"/>
                </a:lnTo>
                <a:lnTo>
                  <a:pt x="1038" y="282"/>
                </a:lnTo>
                <a:lnTo>
                  <a:pt x="1044" y="288"/>
                </a:lnTo>
                <a:lnTo>
                  <a:pt x="1050" y="288"/>
                </a:lnTo>
                <a:lnTo>
                  <a:pt x="1050" y="294"/>
                </a:lnTo>
                <a:lnTo>
                  <a:pt x="1056" y="300"/>
                </a:lnTo>
                <a:lnTo>
                  <a:pt x="1056" y="306"/>
                </a:lnTo>
                <a:lnTo>
                  <a:pt x="1056" y="312"/>
                </a:lnTo>
                <a:lnTo>
                  <a:pt x="1056" y="318"/>
                </a:lnTo>
                <a:lnTo>
                  <a:pt x="1056" y="324"/>
                </a:lnTo>
                <a:lnTo>
                  <a:pt x="1056" y="330"/>
                </a:lnTo>
                <a:lnTo>
                  <a:pt x="1056" y="336"/>
                </a:lnTo>
                <a:lnTo>
                  <a:pt x="1050" y="342"/>
                </a:lnTo>
                <a:lnTo>
                  <a:pt x="1050" y="348"/>
                </a:lnTo>
                <a:lnTo>
                  <a:pt x="1050" y="354"/>
                </a:lnTo>
                <a:lnTo>
                  <a:pt x="1050" y="360"/>
                </a:lnTo>
                <a:lnTo>
                  <a:pt x="1056" y="360"/>
                </a:lnTo>
                <a:lnTo>
                  <a:pt x="1056" y="366"/>
                </a:lnTo>
                <a:lnTo>
                  <a:pt x="1056" y="372"/>
                </a:lnTo>
                <a:lnTo>
                  <a:pt x="1050" y="372"/>
                </a:lnTo>
                <a:lnTo>
                  <a:pt x="1050" y="378"/>
                </a:lnTo>
                <a:lnTo>
                  <a:pt x="1050" y="384"/>
                </a:lnTo>
                <a:lnTo>
                  <a:pt x="1050" y="390"/>
                </a:lnTo>
                <a:lnTo>
                  <a:pt x="1050" y="396"/>
                </a:lnTo>
                <a:lnTo>
                  <a:pt x="1050" y="402"/>
                </a:lnTo>
                <a:lnTo>
                  <a:pt x="1050" y="408"/>
                </a:lnTo>
                <a:lnTo>
                  <a:pt x="1044" y="408"/>
                </a:lnTo>
                <a:lnTo>
                  <a:pt x="1038" y="414"/>
                </a:lnTo>
                <a:lnTo>
                  <a:pt x="1038" y="420"/>
                </a:lnTo>
                <a:lnTo>
                  <a:pt x="1038" y="426"/>
                </a:lnTo>
                <a:lnTo>
                  <a:pt x="1032" y="426"/>
                </a:lnTo>
                <a:lnTo>
                  <a:pt x="1032" y="432"/>
                </a:lnTo>
                <a:lnTo>
                  <a:pt x="1038" y="438"/>
                </a:lnTo>
                <a:lnTo>
                  <a:pt x="1038" y="444"/>
                </a:lnTo>
                <a:lnTo>
                  <a:pt x="1032" y="444"/>
                </a:lnTo>
                <a:lnTo>
                  <a:pt x="1026" y="444"/>
                </a:lnTo>
                <a:lnTo>
                  <a:pt x="1026" y="438"/>
                </a:lnTo>
                <a:lnTo>
                  <a:pt x="1020" y="438"/>
                </a:lnTo>
                <a:lnTo>
                  <a:pt x="1020" y="444"/>
                </a:lnTo>
                <a:lnTo>
                  <a:pt x="1014" y="444"/>
                </a:lnTo>
                <a:lnTo>
                  <a:pt x="1014" y="450"/>
                </a:lnTo>
                <a:lnTo>
                  <a:pt x="1008" y="450"/>
                </a:lnTo>
                <a:lnTo>
                  <a:pt x="1008" y="456"/>
                </a:lnTo>
                <a:lnTo>
                  <a:pt x="1002" y="462"/>
                </a:lnTo>
                <a:lnTo>
                  <a:pt x="1002" y="468"/>
                </a:lnTo>
                <a:lnTo>
                  <a:pt x="996" y="468"/>
                </a:lnTo>
                <a:lnTo>
                  <a:pt x="996" y="474"/>
                </a:lnTo>
                <a:lnTo>
                  <a:pt x="990" y="474"/>
                </a:lnTo>
                <a:lnTo>
                  <a:pt x="990" y="480"/>
                </a:lnTo>
                <a:lnTo>
                  <a:pt x="990" y="486"/>
                </a:lnTo>
                <a:lnTo>
                  <a:pt x="990" y="492"/>
                </a:lnTo>
                <a:lnTo>
                  <a:pt x="984" y="504"/>
                </a:lnTo>
                <a:lnTo>
                  <a:pt x="984" y="510"/>
                </a:lnTo>
                <a:lnTo>
                  <a:pt x="984" y="516"/>
                </a:lnTo>
                <a:lnTo>
                  <a:pt x="978" y="522"/>
                </a:lnTo>
                <a:lnTo>
                  <a:pt x="972" y="528"/>
                </a:lnTo>
                <a:lnTo>
                  <a:pt x="972" y="534"/>
                </a:lnTo>
                <a:lnTo>
                  <a:pt x="972" y="540"/>
                </a:lnTo>
                <a:lnTo>
                  <a:pt x="966" y="546"/>
                </a:lnTo>
                <a:lnTo>
                  <a:pt x="966" y="552"/>
                </a:lnTo>
                <a:lnTo>
                  <a:pt x="960" y="558"/>
                </a:lnTo>
                <a:lnTo>
                  <a:pt x="954" y="558"/>
                </a:lnTo>
                <a:lnTo>
                  <a:pt x="948" y="558"/>
                </a:lnTo>
                <a:lnTo>
                  <a:pt x="942" y="558"/>
                </a:lnTo>
                <a:lnTo>
                  <a:pt x="936" y="558"/>
                </a:lnTo>
                <a:lnTo>
                  <a:pt x="930" y="564"/>
                </a:lnTo>
                <a:lnTo>
                  <a:pt x="924" y="570"/>
                </a:lnTo>
                <a:lnTo>
                  <a:pt x="912" y="576"/>
                </a:lnTo>
                <a:lnTo>
                  <a:pt x="906" y="576"/>
                </a:lnTo>
                <a:lnTo>
                  <a:pt x="906" y="582"/>
                </a:lnTo>
                <a:lnTo>
                  <a:pt x="900" y="582"/>
                </a:lnTo>
                <a:lnTo>
                  <a:pt x="894" y="582"/>
                </a:lnTo>
                <a:lnTo>
                  <a:pt x="894" y="588"/>
                </a:lnTo>
                <a:lnTo>
                  <a:pt x="888" y="588"/>
                </a:lnTo>
                <a:lnTo>
                  <a:pt x="888" y="594"/>
                </a:lnTo>
                <a:lnTo>
                  <a:pt x="894" y="594"/>
                </a:lnTo>
                <a:lnTo>
                  <a:pt x="894" y="600"/>
                </a:lnTo>
                <a:lnTo>
                  <a:pt x="894" y="606"/>
                </a:lnTo>
                <a:lnTo>
                  <a:pt x="894" y="612"/>
                </a:lnTo>
                <a:lnTo>
                  <a:pt x="894" y="618"/>
                </a:lnTo>
                <a:lnTo>
                  <a:pt x="888" y="618"/>
                </a:lnTo>
                <a:lnTo>
                  <a:pt x="882" y="624"/>
                </a:lnTo>
                <a:lnTo>
                  <a:pt x="876" y="630"/>
                </a:lnTo>
                <a:lnTo>
                  <a:pt x="870" y="630"/>
                </a:lnTo>
                <a:lnTo>
                  <a:pt x="864" y="630"/>
                </a:lnTo>
                <a:lnTo>
                  <a:pt x="858" y="630"/>
                </a:lnTo>
                <a:lnTo>
                  <a:pt x="852" y="636"/>
                </a:lnTo>
                <a:lnTo>
                  <a:pt x="846" y="642"/>
                </a:lnTo>
                <a:lnTo>
                  <a:pt x="840" y="642"/>
                </a:lnTo>
                <a:lnTo>
                  <a:pt x="840" y="648"/>
                </a:lnTo>
                <a:lnTo>
                  <a:pt x="834" y="648"/>
                </a:lnTo>
                <a:lnTo>
                  <a:pt x="834" y="654"/>
                </a:lnTo>
                <a:lnTo>
                  <a:pt x="828" y="654"/>
                </a:lnTo>
                <a:lnTo>
                  <a:pt x="828" y="660"/>
                </a:lnTo>
                <a:lnTo>
                  <a:pt x="822" y="660"/>
                </a:lnTo>
                <a:lnTo>
                  <a:pt x="822" y="666"/>
                </a:lnTo>
                <a:lnTo>
                  <a:pt x="816" y="666"/>
                </a:lnTo>
                <a:lnTo>
                  <a:pt x="816" y="672"/>
                </a:lnTo>
                <a:lnTo>
                  <a:pt x="822" y="672"/>
                </a:lnTo>
                <a:lnTo>
                  <a:pt x="822" y="678"/>
                </a:lnTo>
                <a:lnTo>
                  <a:pt x="816" y="678"/>
                </a:lnTo>
                <a:lnTo>
                  <a:pt x="810" y="678"/>
                </a:lnTo>
                <a:lnTo>
                  <a:pt x="810" y="684"/>
                </a:lnTo>
                <a:lnTo>
                  <a:pt x="810" y="690"/>
                </a:lnTo>
                <a:lnTo>
                  <a:pt x="804" y="690"/>
                </a:lnTo>
                <a:lnTo>
                  <a:pt x="804" y="696"/>
                </a:lnTo>
                <a:lnTo>
                  <a:pt x="798" y="696"/>
                </a:lnTo>
                <a:lnTo>
                  <a:pt x="798" y="702"/>
                </a:lnTo>
                <a:lnTo>
                  <a:pt x="798" y="708"/>
                </a:lnTo>
                <a:lnTo>
                  <a:pt x="792" y="708"/>
                </a:lnTo>
                <a:lnTo>
                  <a:pt x="792" y="714"/>
                </a:lnTo>
                <a:lnTo>
                  <a:pt x="786" y="714"/>
                </a:lnTo>
                <a:lnTo>
                  <a:pt x="780" y="714"/>
                </a:lnTo>
                <a:lnTo>
                  <a:pt x="780" y="720"/>
                </a:lnTo>
                <a:lnTo>
                  <a:pt x="780" y="726"/>
                </a:lnTo>
                <a:lnTo>
                  <a:pt x="780" y="732"/>
                </a:lnTo>
                <a:lnTo>
                  <a:pt x="774" y="732"/>
                </a:lnTo>
                <a:lnTo>
                  <a:pt x="768" y="732"/>
                </a:lnTo>
                <a:lnTo>
                  <a:pt x="768" y="726"/>
                </a:lnTo>
                <a:lnTo>
                  <a:pt x="762" y="720"/>
                </a:lnTo>
                <a:lnTo>
                  <a:pt x="756" y="720"/>
                </a:lnTo>
                <a:lnTo>
                  <a:pt x="750" y="720"/>
                </a:lnTo>
                <a:lnTo>
                  <a:pt x="750" y="726"/>
                </a:lnTo>
                <a:lnTo>
                  <a:pt x="744" y="726"/>
                </a:lnTo>
                <a:lnTo>
                  <a:pt x="744" y="732"/>
                </a:lnTo>
                <a:lnTo>
                  <a:pt x="744" y="738"/>
                </a:lnTo>
                <a:lnTo>
                  <a:pt x="738" y="738"/>
                </a:lnTo>
                <a:lnTo>
                  <a:pt x="732" y="738"/>
                </a:lnTo>
                <a:lnTo>
                  <a:pt x="726" y="738"/>
                </a:lnTo>
                <a:lnTo>
                  <a:pt x="726" y="744"/>
                </a:lnTo>
                <a:lnTo>
                  <a:pt x="726" y="750"/>
                </a:lnTo>
                <a:lnTo>
                  <a:pt x="720" y="750"/>
                </a:lnTo>
                <a:lnTo>
                  <a:pt x="720" y="756"/>
                </a:lnTo>
                <a:lnTo>
                  <a:pt x="714" y="756"/>
                </a:lnTo>
                <a:lnTo>
                  <a:pt x="708" y="756"/>
                </a:lnTo>
                <a:lnTo>
                  <a:pt x="702" y="756"/>
                </a:lnTo>
                <a:lnTo>
                  <a:pt x="702" y="762"/>
                </a:lnTo>
                <a:lnTo>
                  <a:pt x="696" y="762"/>
                </a:lnTo>
                <a:lnTo>
                  <a:pt x="690" y="762"/>
                </a:lnTo>
                <a:lnTo>
                  <a:pt x="684" y="762"/>
                </a:lnTo>
                <a:lnTo>
                  <a:pt x="678" y="762"/>
                </a:lnTo>
                <a:lnTo>
                  <a:pt x="672" y="762"/>
                </a:lnTo>
                <a:lnTo>
                  <a:pt x="666" y="762"/>
                </a:lnTo>
                <a:lnTo>
                  <a:pt x="666" y="768"/>
                </a:lnTo>
                <a:lnTo>
                  <a:pt x="660" y="768"/>
                </a:lnTo>
                <a:lnTo>
                  <a:pt x="660" y="774"/>
                </a:lnTo>
                <a:lnTo>
                  <a:pt x="654" y="780"/>
                </a:lnTo>
                <a:lnTo>
                  <a:pt x="648" y="780"/>
                </a:lnTo>
                <a:lnTo>
                  <a:pt x="648" y="774"/>
                </a:lnTo>
                <a:lnTo>
                  <a:pt x="642" y="774"/>
                </a:lnTo>
                <a:lnTo>
                  <a:pt x="636" y="774"/>
                </a:lnTo>
                <a:lnTo>
                  <a:pt x="636" y="780"/>
                </a:lnTo>
                <a:lnTo>
                  <a:pt x="630" y="780"/>
                </a:lnTo>
                <a:lnTo>
                  <a:pt x="630" y="786"/>
                </a:lnTo>
                <a:lnTo>
                  <a:pt x="624" y="786"/>
                </a:lnTo>
                <a:lnTo>
                  <a:pt x="618" y="786"/>
                </a:lnTo>
                <a:lnTo>
                  <a:pt x="618" y="792"/>
                </a:lnTo>
                <a:lnTo>
                  <a:pt x="618" y="798"/>
                </a:lnTo>
                <a:lnTo>
                  <a:pt x="618" y="804"/>
                </a:lnTo>
                <a:lnTo>
                  <a:pt x="612" y="804"/>
                </a:lnTo>
                <a:lnTo>
                  <a:pt x="606" y="804"/>
                </a:lnTo>
                <a:lnTo>
                  <a:pt x="606" y="798"/>
                </a:lnTo>
                <a:lnTo>
                  <a:pt x="600" y="798"/>
                </a:lnTo>
                <a:lnTo>
                  <a:pt x="600" y="792"/>
                </a:lnTo>
                <a:lnTo>
                  <a:pt x="594" y="792"/>
                </a:lnTo>
                <a:lnTo>
                  <a:pt x="588" y="792"/>
                </a:lnTo>
                <a:lnTo>
                  <a:pt x="588" y="798"/>
                </a:lnTo>
                <a:lnTo>
                  <a:pt x="582" y="798"/>
                </a:lnTo>
                <a:lnTo>
                  <a:pt x="582" y="804"/>
                </a:lnTo>
                <a:lnTo>
                  <a:pt x="582" y="810"/>
                </a:lnTo>
                <a:lnTo>
                  <a:pt x="576" y="816"/>
                </a:lnTo>
                <a:lnTo>
                  <a:pt x="570" y="816"/>
                </a:lnTo>
                <a:lnTo>
                  <a:pt x="570" y="822"/>
                </a:lnTo>
                <a:lnTo>
                  <a:pt x="570" y="828"/>
                </a:lnTo>
                <a:lnTo>
                  <a:pt x="564" y="828"/>
                </a:lnTo>
                <a:lnTo>
                  <a:pt x="564" y="834"/>
                </a:lnTo>
                <a:lnTo>
                  <a:pt x="564" y="840"/>
                </a:lnTo>
                <a:lnTo>
                  <a:pt x="564" y="846"/>
                </a:lnTo>
                <a:lnTo>
                  <a:pt x="558" y="846"/>
                </a:lnTo>
                <a:lnTo>
                  <a:pt x="552" y="852"/>
                </a:lnTo>
                <a:lnTo>
                  <a:pt x="552" y="858"/>
                </a:lnTo>
                <a:lnTo>
                  <a:pt x="546" y="858"/>
                </a:lnTo>
                <a:lnTo>
                  <a:pt x="546" y="864"/>
                </a:lnTo>
                <a:lnTo>
                  <a:pt x="546" y="870"/>
                </a:lnTo>
                <a:lnTo>
                  <a:pt x="540" y="870"/>
                </a:lnTo>
                <a:lnTo>
                  <a:pt x="534" y="870"/>
                </a:lnTo>
                <a:lnTo>
                  <a:pt x="528" y="870"/>
                </a:lnTo>
                <a:lnTo>
                  <a:pt x="522" y="876"/>
                </a:lnTo>
                <a:lnTo>
                  <a:pt x="522" y="870"/>
                </a:lnTo>
                <a:lnTo>
                  <a:pt x="516" y="876"/>
                </a:lnTo>
                <a:lnTo>
                  <a:pt x="522" y="876"/>
                </a:lnTo>
                <a:lnTo>
                  <a:pt x="516" y="876"/>
                </a:lnTo>
                <a:lnTo>
                  <a:pt x="510" y="876"/>
                </a:lnTo>
                <a:lnTo>
                  <a:pt x="504" y="882"/>
                </a:lnTo>
                <a:lnTo>
                  <a:pt x="504" y="876"/>
                </a:lnTo>
                <a:lnTo>
                  <a:pt x="504" y="882"/>
                </a:lnTo>
                <a:lnTo>
                  <a:pt x="498" y="882"/>
                </a:lnTo>
                <a:lnTo>
                  <a:pt x="498" y="888"/>
                </a:lnTo>
                <a:lnTo>
                  <a:pt x="498" y="894"/>
                </a:lnTo>
                <a:lnTo>
                  <a:pt x="492" y="894"/>
                </a:lnTo>
                <a:lnTo>
                  <a:pt x="492" y="888"/>
                </a:lnTo>
                <a:lnTo>
                  <a:pt x="492" y="882"/>
                </a:lnTo>
                <a:lnTo>
                  <a:pt x="486" y="882"/>
                </a:lnTo>
                <a:lnTo>
                  <a:pt x="480" y="882"/>
                </a:lnTo>
                <a:lnTo>
                  <a:pt x="474" y="882"/>
                </a:lnTo>
                <a:lnTo>
                  <a:pt x="474" y="888"/>
                </a:lnTo>
                <a:lnTo>
                  <a:pt x="480" y="888"/>
                </a:lnTo>
                <a:lnTo>
                  <a:pt x="474" y="888"/>
                </a:lnTo>
                <a:lnTo>
                  <a:pt x="474" y="894"/>
                </a:lnTo>
                <a:lnTo>
                  <a:pt x="474" y="888"/>
                </a:lnTo>
                <a:lnTo>
                  <a:pt x="474" y="894"/>
                </a:lnTo>
                <a:lnTo>
                  <a:pt x="468" y="894"/>
                </a:lnTo>
                <a:lnTo>
                  <a:pt x="462" y="894"/>
                </a:lnTo>
                <a:lnTo>
                  <a:pt x="456" y="894"/>
                </a:lnTo>
                <a:lnTo>
                  <a:pt x="450" y="888"/>
                </a:lnTo>
                <a:lnTo>
                  <a:pt x="444" y="888"/>
                </a:lnTo>
                <a:lnTo>
                  <a:pt x="444" y="894"/>
                </a:lnTo>
                <a:lnTo>
                  <a:pt x="438" y="894"/>
                </a:lnTo>
                <a:lnTo>
                  <a:pt x="444" y="894"/>
                </a:lnTo>
                <a:lnTo>
                  <a:pt x="438" y="894"/>
                </a:lnTo>
                <a:lnTo>
                  <a:pt x="438" y="888"/>
                </a:lnTo>
                <a:lnTo>
                  <a:pt x="432" y="888"/>
                </a:lnTo>
                <a:lnTo>
                  <a:pt x="432" y="894"/>
                </a:lnTo>
                <a:lnTo>
                  <a:pt x="426" y="894"/>
                </a:lnTo>
                <a:lnTo>
                  <a:pt x="420" y="894"/>
                </a:lnTo>
                <a:lnTo>
                  <a:pt x="420" y="900"/>
                </a:lnTo>
                <a:lnTo>
                  <a:pt x="414" y="900"/>
                </a:lnTo>
                <a:lnTo>
                  <a:pt x="408" y="900"/>
                </a:lnTo>
                <a:lnTo>
                  <a:pt x="408" y="894"/>
                </a:lnTo>
                <a:lnTo>
                  <a:pt x="414" y="888"/>
                </a:lnTo>
                <a:lnTo>
                  <a:pt x="408" y="888"/>
                </a:lnTo>
                <a:lnTo>
                  <a:pt x="408" y="882"/>
                </a:lnTo>
                <a:lnTo>
                  <a:pt x="408" y="888"/>
                </a:lnTo>
                <a:lnTo>
                  <a:pt x="402" y="888"/>
                </a:lnTo>
                <a:lnTo>
                  <a:pt x="402" y="882"/>
                </a:lnTo>
                <a:lnTo>
                  <a:pt x="402" y="888"/>
                </a:lnTo>
                <a:lnTo>
                  <a:pt x="396" y="888"/>
                </a:lnTo>
                <a:lnTo>
                  <a:pt x="390" y="882"/>
                </a:lnTo>
                <a:lnTo>
                  <a:pt x="390" y="876"/>
                </a:lnTo>
                <a:lnTo>
                  <a:pt x="390" y="870"/>
                </a:lnTo>
                <a:lnTo>
                  <a:pt x="396" y="870"/>
                </a:lnTo>
                <a:lnTo>
                  <a:pt x="396" y="864"/>
                </a:lnTo>
                <a:lnTo>
                  <a:pt x="402" y="864"/>
                </a:lnTo>
                <a:lnTo>
                  <a:pt x="396" y="864"/>
                </a:lnTo>
                <a:lnTo>
                  <a:pt x="396" y="858"/>
                </a:lnTo>
                <a:lnTo>
                  <a:pt x="396" y="864"/>
                </a:lnTo>
                <a:lnTo>
                  <a:pt x="390" y="858"/>
                </a:lnTo>
                <a:lnTo>
                  <a:pt x="390" y="864"/>
                </a:lnTo>
                <a:lnTo>
                  <a:pt x="390" y="858"/>
                </a:lnTo>
                <a:lnTo>
                  <a:pt x="384" y="858"/>
                </a:lnTo>
                <a:lnTo>
                  <a:pt x="378" y="852"/>
                </a:lnTo>
                <a:lnTo>
                  <a:pt x="378" y="846"/>
                </a:lnTo>
                <a:lnTo>
                  <a:pt x="372" y="846"/>
                </a:lnTo>
                <a:lnTo>
                  <a:pt x="366" y="846"/>
                </a:lnTo>
                <a:lnTo>
                  <a:pt x="366" y="840"/>
                </a:lnTo>
                <a:lnTo>
                  <a:pt x="372" y="840"/>
                </a:lnTo>
                <a:lnTo>
                  <a:pt x="366" y="840"/>
                </a:lnTo>
                <a:lnTo>
                  <a:pt x="366" y="834"/>
                </a:lnTo>
                <a:lnTo>
                  <a:pt x="372" y="834"/>
                </a:lnTo>
                <a:lnTo>
                  <a:pt x="378" y="834"/>
                </a:lnTo>
                <a:lnTo>
                  <a:pt x="378" y="828"/>
                </a:lnTo>
                <a:lnTo>
                  <a:pt x="372" y="828"/>
                </a:lnTo>
                <a:lnTo>
                  <a:pt x="366" y="828"/>
                </a:lnTo>
                <a:lnTo>
                  <a:pt x="366" y="822"/>
                </a:lnTo>
                <a:lnTo>
                  <a:pt x="366" y="816"/>
                </a:lnTo>
                <a:lnTo>
                  <a:pt x="360" y="816"/>
                </a:lnTo>
                <a:lnTo>
                  <a:pt x="360" y="810"/>
                </a:lnTo>
                <a:lnTo>
                  <a:pt x="360" y="804"/>
                </a:lnTo>
                <a:lnTo>
                  <a:pt x="354" y="804"/>
                </a:lnTo>
                <a:lnTo>
                  <a:pt x="348" y="804"/>
                </a:lnTo>
                <a:lnTo>
                  <a:pt x="342" y="804"/>
                </a:lnTo>
                <a:lnTo>
                  <a:pt x="342" y="810"/>
                </a:lnTo>
                <a:lnTo>
                  <a:pt x="342" y="804"/>
                </a:lnTo>
                <a:lnTo>
                  <a:pt x="336" y="804"/>
                </a:lnTo>
                <a:lnTo>
                  <a:pt x="342" y="798"/>
                </a:lnTo>
                <a:lnTo>
                  <a:pt x="342" y="792"/>
                </a:lnTo>
                <a:lnTo>
                  <a:pt x="342" y="786"/>
                </a:lnTo>
                <a:lnTo>
                  <a:pt x="336" y="786"/>
                </a:lnTo>
                <a:lnTo>
                  <a:pt x="336" y="780"/>
                </a:lnTo>
                <a:lnTo>
                  <a:pt x="342" y="780"/>
                </a:lnTo>
                <a:lnTo>
                  <a:pt x="348" y="780"/>
                </a:lnTo>
                <a:lnTo>
                  <a:pt x="354" y="780"/>
                </a:lnTo>
                <a:lnTo>
                  <a:pt x="354" y="774"/>
                </a:lnTo>
                <a:lnTo>
                  <a:pt x="348" y="774"/>
                </a:lnTo>
                <a:lnTo>
                  <a:pt x="354" y="774"/>
                </a:lnTo>
                <a:lnTo>
                  <a:pt x="360" y="774"/>
                </a:lnTo>
                <a:lnTo>
                  <a:pt x="360" y="768"/>
                </a:lnTo>
                <a:lnTo>
                  <a:pt x="354" y="768"/>
                </a:lnTo>
                <a:lnTo>
                  <a:pt x="348" y="768"/>
                </a:lnTo>
                <a:lnTo>
                  <a:pt x="348" y="762"/>
                </a:lnTo>
                <a:lnTo>
                  <a:pt x="348" y="756"/>
                </a:lnTo>
                <a:lnTo>
                  <a:pt x="342" y="750"/>
                </a:lnTo>
                <a:lnTo>
                  <a:pt x="336" y="750"/>
                </a:lnTo>
                <a:lnTo>
                  <a:pt x="336" y="744"/>
                </a:lnTo>
                <a:lnTo>
                  <a:pt x="336" y="738"/>
                </a:lnTo>
                <a:lnTo>
                  <a:pt x="330" y="738"/>
                </a:lnTo>
                <a:lnTo>
                  <a:pt x="330" y="732"/>
                </a:lnTo>
                <a:lnTo>
                  <a:pt x="324" y="732"/>
                </a:lnTo>
                <a:lnTo>
                  <a:pt x="330" y="732"/>
                </a:lnTo>
                <a:lnTo>
                  <a:pt x="324" y="726"/>
                </a:lnTo>
                <a:lnTo>
                  <a:pt x="318" y="726"/>
                </a:lnTo>
                <a:lnTo>
                  <a:pt x="312" y="726"/>
                </a:lnTo>
                <a:lnTo>
                  <a:pt x="312" y="720"/>
                </a:lnTo>
                <a:lnTo>
                  <a:pt x="312" y="714"/>
                </a:lnTo>
                <a:lnTo>
                  <a:pt x="312" y="708"/>
                </a:lnTo>
                <a:lnTo>
                  <a:pt x="312" y="702"/>
                </a:lnTo>
                <a:lnTo>
                  <a:pt x="312" y="696"/>
                </a:lnTo>
                <a:lnTo>
                  <a:pt x="312" y="690"/>
                </a:lnTo>
                <a:lnTo>
                  <a:pt x="312" y="696"/>
                </a:lnTo>
                <a:lnTo>
                  <a:pt x="306" y="696"/>
                </a:lnTo>
                <a:lnTo>
                  <a:pt x="306" y="690"/>
                </a:lnTo>
                <a:lnTo>
                  <a:pt x="300" y="690"/>
                </a:lnTo>
                <a:lnTo>
                  <a:pt x="300" y="684"/>
                </a:lnTo>
                <a:lnTo>
                  <a:pt x="294" y="684"/>
                </a:lnTo>
                <a:lnTo>
                  <a:pt x="294" y="690"/>
                </a:lnTo>
                <a:lnTo>
                  <a:pt x="288" y="690"/>
                </a:lnTo>
                <a:lnTo>
                  <a:pt x="288" y="684"/>
                </a:lnTo>
                <a:lnTo>
                  <a:pt x="288" y="678"/>
                </a:lnTo>
                <a:lnTo>
                  <a:pt x="282" y="678"/>
                </a:lnTo>
                <a:lnTo>
                  <a:pt x="276" y="678"/>
                </a:lnTo>
                <a:lnTo>
                  <a:pt x="276" y="672"/>
                </a:lnTo>
                <a:lnTo>
                  <a:pt x="276" y="678"/>
                </a:lnTo>
                <a:lnTo>
                  <a:pt x="276" y="672"/>
                </a:lnTo>
                <a:lnTo>
                  <a:pt x="270" y="672"/>
                </a:lnTo>
                <a:lnTo>
                  <a:pt x="270" y="678"/>
                </a:lnTo>
                <a:lnTo>
                  <a:pt x="264" y="678"/>
                </a:lnTo>
                <a:lnTo>
                  <a:pt x="264" y="684"/>
                </a:lnTo>
                <a:lnTo>
                  <a:pt x="258" y="684"/>
                </a:lnTo>
                <a:lnTo>
                  <a:pt x="258" y="690"/>
                </a:lnTo>
                <a:lnTo>
                  <a:pt x="252" y="690"/>
                </a:lnTo>
                <a:lnTo>
                  <a:pt x="246" y="684"/>
                </a:lnTo>
                <a:lnTo>
                  <a:pt x="240" y="684"/>
                </a:lnTo>
                <a:lnTo>
                  <a:pt x="240" y="690"/>
                </a:lnTo>
                <a:lnTo>
                  <a:pt x="234" y="690"/>
                </a:lnTo>
                <a:lnTo>
                  <a:pt x="228" y="690"/>
                </a:lnTo>
                <a:lnTo>
                  <a:pt x="222" y="690"/>
                </a:lnTo>
                <a:lnTo>
                  <a:pt x="222" y="684"/>
                </a:lnTo>
                <a:lnTo>
                  <a:pt x="216" y="684"/>
                </a:lnTo>
                <a:lnTo>
                  <a:pt x="216" y="678"/>
                </a:lnTo>
                <a:lnTo>
                  <a:pt x="210" y="678"/>
                </a:lnTo>
                <a:lnTo>
                  <a:pt x="210" y="672"/>
                </a:lnTo>
                <a:lnTo>
                  <a:pt x="204" y="672"/>
                </a:lnTo>
                <a:lnTo>
                  <a:pt x="204" y="678"/>
                </a:lnTo>
                <a:lnTo>
                  <a:pt x="204" y="672"/>
                </a:lnTo>
                <a:lnTo>
                  <a:pt x="198" y="672"/>
                </a:lnTo>
                <a:lnTo>
                  <a:pt x="198" y="678"/>
                </a:lnTo>
                <a:lnTo>
                  <a:pt x="192" y="678"/>
                </a:lnTo>
                <a:lnTo>
                  <a:pt x="192" y="684"/>
                </a:lnTo>
                <a:lnTo>
                  <a:pt x="192" y="678"/>
                </a:lnTo>
                <a:lnTo>
                  <a:pt x="186" y="678"/>
                </a:lnTo>
                <a:lnTo>
                  <a:pt x="180" y="672"/>
                </a:lnTo>
                <a:lnTo>
                  <a:pt x="174" y="672"/>
                </a:lnTo>
                <a:lnTo>
                  <a:pt x="168" y="672"/>
                </a:lnTo>
                <a:lnTo>
                  <a:pt x="162" y="672"/>
                </a:lnTo>
                <a:lnTo>
                  <a:pt x="156" y="678"/>
                </a:lnTo>
                <a:lnTo>
                  <a:pt x="150" y="684"/>
                </a:lnTo>
                <a:lnTo>
                  <a:pt x="144" y="690"/>
                </a:lnTo>
                <a:lnTo>
                  <a:pt x="138" y="690"/>
                </a:lnTo>
                <a:lnTo>
                  <a:pt x="132" y="684"/>
                </a:lnTo>
                <a:lnTo>
                  <a:pt x="126" y="684"/>
                </a:lnTo>
                <a:lnTo>
                  <a:pt x="126" y="678"/>
                </a:lnTo>
                <a:lnTo>
                  <a:pt x="126" y="672"/>
                </a:lnTo>
                <a:lnTo>
                  <a:pt x="126" y="666"/>
                </a:lnTo>
                <a:lnTo>
                  <a:pt x="120" y="666"/>
                </a:lnTo>
                <a:lnTo>
                  <a:pt x="120" y="660"/>
                </a:lnTo>
                <a:lnTo>
                  <a:pt x="114" y="660"/>
                </a:lnTo>
                <a:lnTo>
                  <a:pt x="108" y="660"/>
                </a:lnTo>
                <a:lnTo>
                  <a:pt x="102" y="660"/>
                </a:lnTo>
                <a:lnTo>
                  <a:pt x="96" y="660"/>
                </a:lnTo>
                <a:lnTo>
                  <a:pt x="90" y="660"/>
                </a:lnTo>
                <a:lnTo>
                  <a:pt x="90" y="654"/>
                </a:lnTo>
                <a:lnTo>
                  <a:pt x="84" y="654"/>
                </a:lnTo>
                <a:lnTo>
                  <a:pt x="78" y="654"/>
                </a:lnTo>
                <a:lnTo>
                  <a:pt x="72" y="654"/>
                </a:lnTo>
                <a:lnTo>
                  <a:pt x="66" y="660"/>
                </a:lnTo>
                <a:lnTo>
                  <a:pt x="66" y="654"/>
                </a:lnTo>
                <a:lnTo>
                  <a:pt x="60" y="654"/>
                </a:lnTo>
                <a:lnTo>
                  <a:pt x="60" y="648"/>
                </a:lnTo>
                <a:lnTo>
                  <a:pt x="66" y="648"/>
                </a:lnTo>
                <a:lnTo>
                  <a:pt x="72" y="648"/>
                </a:lnTo>
                <a:lnTo>
                  <a:pt x="72" y="642"/>
                </a:lnTo>
                <a:lnTo>
                  <a:pt x="78" y="642"/>
                </a:lnTo>
                <a:lnTo>
                  <a:pt x="78" y="636"/>
                </a:lnTo>
                <a:lnTo>
                  <a:pt x="84" y="630"/>
                </a:lnTo>
                <a:lnTo>
                  <a:pt x="84" y="624"/>
                </a:lnTo>
                <a:lnTo>
                  <a:pt x="84" y="618"/>
                </a:lnTo>
                <a:lnTo>
                  <a:pt x="90" y="618"/>
                </a:lnTo>
                <a:lnTo>
                  <a:pt x="90" y="612"/>
                </a:lnTo>
                <a:lnTo>
                  <a:pt x="90" y="606"/>
                </a:lnTo>
                <a:lnTo>
                  <a:pt x="90" y="600"/>
                </a:lnTo>
                <a:lnTo>
                  <a:pt x="96" y="600"/>
                </a:lnTo>
                <a:lnTo>
                  <a:pt x="102" y="600"/>
                </a:lnTo>
                <a:lnTo>
                  <a:pt x="108" y="600"/>
                </a:lnTo>
                <a:lnTo>
                  <a:pt x="108" y="606"/>
                </a:lnTo>
                <a:lnTo>
                  <a:pt x="114" y="606"/>
                </a:lnTo>
                <a:lnTo>
                  <a:pt x="114" y="600"/>
                </a:lnTo>
                <a:lnTo>
                  <a:pt x="114" y="594"/>
                </a:lnTo>
                <a:lnTo>
                  <a:pt x="114" y="588"/>
                </a:lnTo>
                <a:lnTo>
                  <a:pt x="120" y="588"/>
                </a:lnTo>
                <a:lnTo>
                  <a:pt x="120" y="582"/>
                </a:lnTo>
                <a:lnTo>
                  <a:pt x="114" y="582"/>
                </a:lnTo>
                <a:lnTo>
                  <a:pt x="108" y="582"/>
                </a:lnTo>
                <a:lnTo>
                  <a:pt x="108" y="588"/>
                </a:lnTo>
                <a:lnTo>
                  <a:pt x="102" y="588"/>
                </a:lnTo>
                <a:lnTo>
                  <a:pt x="102" y="582"/>
                </a:lnTo>
                <a:lnTo>
                  <a:pt x="96" y="582"/>
                </a:lnTo>
                <a:lnTo>
                  <a:pt x="90" y="582"/>
                </a:lnTo>
                <a:lnTo>
                  <a:pt x="84" y="582"/>
                </a:lnTo>
                <a:lnTo>
                  <a:pt x="78" y="582"/>
                </a:lnTo>
                <a:lnTo>
                  <a:pt x="72" y="582"/>
                </a:lnTo>
                <a:lnTo>
                  <a:pt x="72" y="576"/>
                </a:lnTo>
                <a:lnTo>
                  <a:pt x="78" y="576"/>
                </a:lnTo>
                <a:lnTo>
                  <a:pt x="78" y="570"/>
                </a:lnTo>
                <a:lnTo>
                  <a:pt x="84" y="570"/>
                </a:lnTo>
                <a:lnTo>
                  <a:pt x="90" y="570"/>
                </a:lnTo>
                <a:lnTo>
                  <a:pt x="90" y="564"/>
                </a:lnTo>
                <a:lnTo>
                  <a:pt x="84" y="564"/>
                </a:lnTo>
                <a:lnTo>
                  <a:pt x="84" y="558"/>
                </a:lnTo>
                <a:lnTo>
                  <a:pt x="90" y="558"/>
                </a:lnTo>
                <a:lnTo>
                  <a:pt x="90" y="552"/>
                </a:lnTo>
                <a:lnTo>
                  <a:pt x="90" y="546"/>
                </a:lnTo>
                <a:lnTo>
                  <a:pt x="84" y="546"/>
                </a:lnTo>
                <a:lnTo>
                  <a:pt x="78" y="546"/>
                </a:lnTo>
                <a:lnTo>
                  <a:pt x="78" y="540"/>
                </a:lnTo>
                <a:lnTo>
                  <a:pt x="72" y="540"/>
                </a:lnTo>
                <a:lnTo>
                  <a:pt x="66" y="540"/>
                </a:lnTo>
                <a:lnTo>
                  <a:pt x="60" y="540"/>
                </a:lnTo>
                <a:lnTo>
                  <a:pt x="60" y="534"/>
                </a:lnTo>
                <a:lnTo>
                  <a:pt x="54" y="534"/>
                </a:lnTo>
                <a:lnTo>
                  <a:pt x="54" y="528"/>
                </a:lnTo>
                <a:lnTo>
                  <a:pt x="54" y="522"/>
                </a:lnTo>
                <a:lnTo>
                  <a:pt x="54" y="528"/>
                </a:lnTo>
                <a:lnTo>
                  <a:pt x="54" y="534"/>
                </a:lnTo>
                <a:lnTo>
                  <a:pt x="48" y="534"/>
                </a:lnTo>
                <a:lnTo>
                  <a:pt x="48" y="528"/>
                </a:lnTo>
                <a:lnTo>
                  <a:pt x="42" y="528"/>
                </a:lnTo>
                <a:lnTo>
                  <a:pt x="36" y="528"/>
                </a:lnTo>
                <a:lnTo>
                  <a:pt x="36" y="534"/>
                </a:lnTo>
                <a:lnTo>
                  <a:pt x="30" y="534"/>
                </a:lnTo>
                <a:lnTo>
                  <a:pt x="24" y="534"/>
                </a:lnTo>
                <a:lnTo>
                  <a:pt x="18" y="534"/>
                </a:lnTo>
                <a:lnTo>
                  <a:pt x="12" y="528"/>
                </a:lnTo>
                <a:lnTo>
                  <a:pt x="6" y="528"/>
                </a:lnTo>
                <a:lnTo>
                  <a:pt x="6" y="522"/>
                </a:lnTo>
                <a:lnTo>
                  <a:pt x="0" y="516"/>
                </a:lnTo>
                <a:lnTo>
                  <a:pt x="0" y="510"/>
                </a:lnTo>
                <a:lnTo>
                  <a:pt x="6" y="510"/>
                </a:lnTo>
                <a:lnTo>
                  <a:pt x="6" y="504"/>
                </a:lnTo>
                <a:lnTo>
                  <a:pt x="0" y="504"/>
                </a:lnTo>
                <a:lnTo>
                  <a:pt x="6" y="504"/>
                </a:lnTo>
                <a:lnTo>
                  <a:pt x="12" y="504"/>
                </a:lnTo>
                <a:lnTo>
                  <a:pt x="6" y="504"/>
                </a:lnTo>
                <a:lnTo>
                  <a:pt x="6" y="498"/>
                </a:lnTo>
                <a:lnTo>
                  <a:pt x="12" y="498"/>
                </a:lnTo>
                <a:lnTo>
                  <a:pt x="6" y="498"/>
                </a:lnTo>
                <a:lnTo>
                  <a:pt x="12" y="498"/>
                </a:lnTo>
                <a:lnTo>
                  <a:pt x="18" y="498"/>
                </a:lnTo>
                <a:lnTo>
                  <a:pt x="12" y="504"/>
                </a:lnTo>
                <a:lnTo>
                  <a:pt x="18" y="504"/>
                </a:lnTo>
                <a:lnTo>
                  <a:pt x="18" y="510"/>
                </a:lnTo>
                <a:lnTo>
                  <a:pt x="18" y="504"/>
                </a:lnTo>
                <a:lnTo>
                  <a:pt x="24" y="504"/>
                </a:lnTo>
                <a:lnTo>
                  <a:pt x="24" y="498"/>
                </a:lnTo>
                <a:lnTo>
                  <a:pt x="30" y="492"/>
                </a:lnTo>
                <a:lnTo>
                  <a:pt x="30" y="486"/>
                </a:lnTo>
                <a:lnTo>
                  <a:pt x="36" y="486"/>
                </a:lnTo>
                <a:lnTo>
                  <a:pt x="36" y="480"/>
                </a:lnTo>
                <a:lnTo>
                  <a:pt x="36" y="486"/>
                </a:lnTo>
                <a:lnTo>
                  <a:pt x="42" y="486"/>
                </a:lnTo>
                <a:lnTo>
                  <a:pt x="42" y="480"/>
                </a:lnTo>
                <a:lnTo>
                  <a:pt x="36" y="474"/>
                </a:lnTo>
                <a:lnTo>
                  <a:pt x="30" y="474"/>
                </a:lnTo>
                <a:lnTo>
                  <a:pt x="30" y="468"/>
                </a:lnTo>
                <a:lnTo>
                  <a:pt x="36" y="468"/>
                </a:lnTo>
                <a:lnTo>
                  <a:pt x="36" y="462"/>
                </a:lnTo>
                <a:lnTo>
                  <a:pt x="30" y="462"/>
                </a:lnTo>
                <a:lnTo>
                  <a:pt x="30" y="468"/>
                </a:lnTo>
                <a:lnTo>
                  <a:pt x="30" y="462"/>
                </a:lnTo>
                <a:lnTo>
                  <a:pt x="30" y="456"/>
                </a:lnTo>
                <a:lnTo>
                  <a:pt x="36" y="456"/>
                </a:lnTo>
                <a:lnTo>
                  <a:pt x="42" y="456"/>
                </a:lnTo>
                <a:lnTo>
                  <a:pt x="42" y="462"/>
                </a:lnTo>
                <a:lnTo>
                  <a:pt x="42" y="468"/>
                </a:lnTo>
                <a:lnTo>
                  <a:pt x="48" y="468"/>
                </a:lnTo>
                <a:lnTo>
                  <a:pt x="48" y="462"/>
                </a:lnTo>
                <a:lnTo>
                  <a:pt x="54" y="462"/>
                </a:lnTo>
                <a:lnTo>
                  <a:pt x="54" y="456"/>
                </a:lnTo>
                <a:lnTo>
                  <a:pt x="48" y="456"/>
                </a:lnTo>
                <a:lnTo>
                  <a:pt x="48" y="450"/>
                </a:lnTo>
                <a:lnTo>
                  <a:pt x="54" y="450"/>
                </a:lnTo>
                <a:lnTo>
                  <a:pt x="54" y="444"/>
                </a:lnTo>
                <a:lnTo>
                  <a:pt x="54" y="438"/>
                </a:lnTo>
                <a:lnTo>
                  <a:pt x="48" y="438"/>
                </a:lnTo>
                <a:lnTo>
                  <a:pt x="48" y="432"/>
                </a:lnTo>
                <a:lnTo>
                  <a:pt x="42" y="432"/>
                </a:lnTo>
                <a:lnTo>
                  <a:pt x="36" y="432"/>
                </a:lnTo>
                <a:lnTo>
                  <a:pt x="36" y="426"/>
                </a:lnTo>
                <a:lnTo>
                  <a:pt x="30" y="426"/>
                </a:lnTo>
                <a:lnTo>
                  <a:pt x="24" y="426"/>
                </a:lnTo>
                <a:lnTo>
                  <a:pt x="24" y="420"/>
                </a:lnTo>
                <a:lnTo>
                  <a:pt x="18" y="426"/>
                </a:lnTo>
                <a:lnTo>
                  <a:pt x="18" y="420"/>
                </a:lnTo>
                <a:lnTo>
                  <a:pt x="12" y="420"/>
                </a:lnTo>
                <a:lnTo>
                  <a:pt x="12" y="414"/>
                </a:lnTo>
                <a:lnTo>
                  <a:pt x="18" y="414"/>
                </a:lnTo>
                <a:lnTo>
                  <a:pt x="18" y="408"/>
                </a:lnTo>
                <a:lnTo>
                  <a:pt x="24" y="408"/>
                </a:lnTo>
                <a:lnTo>
                  <a:pt x="24" y="402"/>
                </a:lnTo>
                <a:lnTo>
                  <a:pt x="24" y="396"/>
                </a:lnTo>
                <a:lnTo>
                  <a:pt x="24" y="390"/>
                </a:lnTo>
                <a:lnTo>
                  <a:pt x="30" y="390"/>
                </a:lnTo>
                <a:lnTo>
                  <a:pt x="24" y="390"/>
                </a:lnTo>
                <a:lnTo>
                  <a:pt x="30" y="384"/>
                </a:lnTo>
                <a:lnTo>
                  <a:pt x="30" y="378"/>
                </a:lnTo>
                <a:lnTo>
                  <a:pt x="36" y="378"/>
                </a:lnTo>
                <a:lnTo>
                  <a:pt x="36" y="384"/>
                </a:lnTo>
                <a:lnTo>
                  <a:pt x="42" y="378"/>
                </a:lnTo>
                <a:lnTo>
                  <a:pt x="42" y="372"/>
                </a:lnTo>
                <a:lnTo>
                  <a:pt x="48" y="372"/>
                </a:lnTo>
                <a:lnTo>
                  <a:pt x="48" y="366"/>
                </a:lnTo>
                <a:lnTo>
                  <a:pt x="54" y="366"/>
                </a:lnTo>
                <a:lnTo>
                  <a:pt x="54" y="360"/>
                </a:lnTo>
                <a:lnTo>
                  <a:pt x="54" y="354"/>
                </a:lnTo>
                <a:lnTo>
                  <a:pt x="48" y="354"/>
                </a:lnTo>
                <a:lnTo>
                  <a:pt x="48" y="348"/>
                </a:lnTo>
                <a:lnTo>
                  <a:pt x="48" y="342"/>
                </a:lnTo>
                <a:lnTo>
                  <a:pt x="42" y="342"/>
                </a:lnTo>
                <a:lnTo>
                  <a:pt x="42" y="336"/>
                </a:lnTo>
                <a:lnTo>
                  <a:pt x="42" y="330"/>
                </a:lnTo>
                <a:lnTo>
                  <a:pt x="42" y="324"/>
                </a:lnTo>
                <a:lnTo>
                  <a:pt x="42" y="318"/>
                </a:lnTo>
                <a:lnTo>
                  <a:pt x="48" y="312"/>
                </a:lnTo>
                <a:lnTo>
                  <a:pt x="48" y="306"/>
                </a:lnTo>
                <a:lnTo>
                  <a:pt x="54" y="300"/>
                </a:lnTo>
                <a:lnTo>
                  <a:pt x="48" y="300"/>
                </a:lnTo>
                <a:lnTo>
                  <a:pt x="48" y="294"/>
                </a:lnTo>
                <a:lnTo>
                  <a:pt x="54" y="288"/>
                </a:lnTo>
                <a:lnTo>
                  <a:pt x="48" y="288"/>
                </a:lnTo>
                <a:lnTo>
                  <a:pt x="48" y="282"/>
                </a:lnTo>
                <a:lnTo>
                  <a:pt x="48" y="276"/>
                </a:lnTo>
                <a:lnTo>
                  <a:pt x="54" y="276"/>
                </a:lnTo>
                <a:lnTo>
                  <a:pt x="54" y="270"/>
                </a:lnTo>
                <a:lnTo>
                  <a:pt x="60" y="270"/>
                </a:lnTo>
                <a:lnTo>
                  <a:pt x="60" y="276"/>
                </a:lnTo>
                <a:lnTo>
                  <a:pt x="66" y="282"/>
                </a:lnTo>
                <a:lnTo>
                  <a:pt x="72" y="282"/>
                </a:lnTo>
                <a:lnTo>
                  <a:pt x="78" y="282"/>
                </a:lnTo>
                <a:lnTo>
                  <a:pt x="84" y="282"/>
                </a:lnTo>
                <a:lnTo>
                  <a:pt x="84" y="288"/>
                </a:lnTo>
                <a:lnTo>
                  <a:pt x="84" y="294"/>
                </a:lnTo>
                <a:lnTo>
                  <a:pt x="90" y="294"/>
                </a:lnTo>
                <a:lnTo>
                  <a:pt x="90" y="288"/>
                </a:lnTo>
                <a:lnTo>
                  <a:pt x="96" y="288"/>
                </a:lnTo>
                <a:lnTo>
                  <a:pt x="96" y="294"/>
                </a:lnTo>
                <a:lnTo>
                  <a:pt x="96" y="300"/>
                </a:lnTo>
                <a:lnTo>
                  <a:pt x="96" y="306"/>
                </a:lnTo>
                <a:lnTo>
                  <a:pt x="102" y="306"/>
                </a:lnTo>
                <a:lnTo>
                  <a:pt x="102" y="312"/>
                </a:lnTo>
                <a:lnTo>
                  <a:pt x="108" y="312"/>
                </a:lnTo>
                <a:lnTo>
                  <a:pt x="114" y="312"/>
                </a:lnTo>
                <a:lnTo>
                  <a:pt x="114" y="318"/>
                </a:lnTo>
                <a:lnTo>
                  <a:pt x="120" y="318"/>
                </a:lnTo>
                <a:lnTo>
                  <a:pt x="120" y="324"/>
                </a:lnTo>
                <a:lnTo>
                  <a:pt x="126" y="324"/>
                </a:lnTo>
                <a:lnTo>
                  <a:pt x="132" y="324"/>
                </a:lnTo>
                <a:lnTo>
                  <a:pt x="132" y="318"/>
                </a:lnTo>
                <a:lnTo>
                  <a:pt x="138" y="312"/>
                </a:lnTo>
                <a:lnTo>
                  <a:pt x="138" y="306"/>
                </a:lnTo>
                <a:lnTo>
                  <a:pt x="138" y="300"/>
                </a:lnTo>
                <a:lnTo>
                  <a:pt x="132" y="300"/>
                </a:lnTo>
                <a:lnTo>
                  <a:pt x="132" y="294"/>
                </a:lnTo>
                <a:lnTo>
                  <a:pt x="138" y="294"/>
                </a:lnTo>
                <a:lnTo>
                  <a:pt x="138" y="288"/>
                </a:lnTo>
                <a:lnTo>
                  <a:pt x="138" y="282"/>
                </a:lnTo>
                <a:lnTo>
                  <a:pt x="138" y="276"/>
                </a:lnTo>
                <a:lnTo>
                  <a:pt x="138" y="270"/>
                </a:lnTo>
                <a:lnTo>
                  <a:pt x="138" y="264"/>
                </a:lnTo>
                <a:lnTo>
                  <a:pt x="138" y="258"/>
                </a:lnTo>
                <a:lnTo>
                  <a:pt x="138" y="252"/>
                </a:lnTo>
                <a:lnTo>
                  <a:pt x="138" y="246"/>
                </a:lnTo>
                <a:lnTo>
                  <a:pt x="138" y="240"/>
                </a:lnTo>
                <a:lnTo>
                  <a:pt x="138" y="246"/>
                </a:lnTo>
                <a:lnTo>
                  <a:pt x="132" y="246"/>
                </a:lnTo>
                <a:lnTo>
                  <a:pt x="132" y="240"/>
                </a:lnTo>
                <a:lnTo>
                  <a:pt x="126" y="240"/>
                </a:lnTo>
                <a:lnTo>
                  <a:pt x="120" y="240"/>
                </a:lnTo>
                <a:lnTo>
                  <a:pt x="114" y="240"/>
                </a:lnTo>
                <a:lnTo>
                  <a:pt x="108" y="240"/>
                </a:lnTo>
                <a:lnTo>
                  <a:pt x="102" y="240"/>
                </a:lnTo>
                <a:lnTo>
                  <a:pt x="102" y="234"/>
                </a:lnTo>
                <a:lnTo>
                  <a:pt x="102" y="228"/>
                </a:lnTo>
                <a:lnTo>
                  <a:pt x="102" y="222"/>
                </a:lnTo>
                <a:lnTo>
                  <a:pt x="108" y="216"/>
                </a:lnTo>
                <a:lnTo>
                  <a:pt x="102" y="216"/>
                </a:lnTo>
                <a:lnTo>
                  <a:pt x="102" y="210"/>
                </a:lnTo>
                <a:lnTo>
                  <a:pt x="96" y="210"/>
                </a:lnTo>
                <a:lnTo>
                  <a:pt x="96" y="204"/>
                </a:lnTo>
                <a:lnTo>
                  <a:pt x="96" y="198"/>
                </a:lnTo>
                <a:lnTo>
                  <a:pt x="96" y="192"/>
                </a:lnTo>
                <a:lnTo>
                  <a:pt x="96" y="186"/>
                </a:lnTo>
                <a:lnTo>
                  <a:pt x="102" y="186"/>
                </a:lnTo>
                <a:lnTo>
                  <a:pt x="102" y="180"/>
                </a:lnTo>
                <a:lnTo>
                  <a:pt x="108" y="180"/>
                </a:lnTo>
                <a:lnTo>
                  <a:pt x="108" y="174"/>
                </a:lnTo>
                <a:lnTo>
                  <a:pt x="114" y="174"/>
                </a:lnTo>
                <a:lnTo>
                  <a:pt x="114" y="168"/>
                </a:lnTo>
                <a:lnTo>
                  <a:pt x="108" y="162"/>
                </a:lnTo>
                <a:lnTo>
                  <a:pt x="102" y="162"/>
                </a:lnTo>
                <a:lnTo>
                  <a:pt x="102" y="156"/>
                </a:lnTo>
                <a:lnTo>
                  <a:pt x="96" y="156"/>
                </a:lnTo>
                <a:lnTo>
                  <a:pt x="102" y="156"/>
                </a:lnTo>
                <a:lnTo>
                  <a:pt x="102" y="150"/>
                </a:lnTo>
                <a:lnTo>
                  <a:pt x="102" y="144"/>
                </a:lnTo>
                <a:lnTo>
                  <a:pt x="108" y="144"/>
                </a:lnTo>
                <a:lnTo>
                  <a:pt x="108" y="138"/>
                </a:lnTo>
                <a:lnTo>
                  <a:pt x="114" y="138"/>
                </a:lnTo>
                <a:lnTo>
                  <a:pt x="120" y="138"/>
                </a:lnTo>
                <a:lnTo>
                  <a:pt x="126" y="138"/>
                </a:lnTo>
                <a:lnTo>
                  <a:pt x="132" y="138"/>
                </a:lnTo>
                <a:lnTo>
                  <a:pt x="132" y="144"/>
                </a:lnTo>
                <a:lnTo>
                  <a:pt x="126" y="144"/>
                </a:lnTo>
                <a:lnTo>
                  <a:pt x="126" y="150"/>
                </a:lnTo>
                <a:lnTo>
                  <a:pt x="126" y="144"/>
                </a:lnTo>
                <a:lnTo>
                  <a:pt x="132" y="144"/>
                </a:lnTo>
                <a:lnTo>
                  <a:pt x="138" y="144"/>
                </a:lnTo>
                <a:lnTo>
                  <a:pt x="144" y="144"/>
                </a:lnTo>
                <a:lnTo>
                  <a:pt x="150" y="144"/>
                </a:lnTo>
                <a:lnTo>
                  <a:pt x="150" y="138"/>
                </a:lnTo>
                <a:lnTo>
                  <a:pt x="156" y="138"/>
                </a:lnTo>
                <a:lnTo>
                  <a:pt x="156" y="144"/>
                </a:lnTo>
                <a:lnTo>
                  <a:pt x="162" y="144"/>
                </a:lnTo>
                <a:lnTo>
                  <a:pt x="162" y="138"/>
                </a:lnTo>
                <a:lnTo>
                  <a:pt x="168" y="138"/>
                </a:lnTo>
                <a:lnTo>
                  <a:pt x="174" y="138"/>
                </a:lnTo>
                <a:lnTo>
                  <a:pt x="180" y="138"/>
                </a:lnTo>
                <a:lnTo>
                  <a:pt x="180" y="132"/>
                </a:lnTo>
                <a:lnTo>
                  <a:pt x="186" y="132"/>
                </a:lnTo>
                <a:lnTo>
                  <a:pt x="192" y="132"/>
                </a:lnTo>
                <a:lnTo>
                  <a:pt x="192" y="126"/>
                </a:lnTo>
                <a:lnTo>
                  <a:pt x="192" y="132"/>
                </a:lnTo>
                <a:lnTo>
                  <a:pt x="198" y="132"/>
                </a:lnTo>
                <a:lnTo>
                  <a:pt x="198" y="126"/>
                </a:lnTo>
                <a:lnTo>
                  <a:pt x="204" y="126"/>
                </a:lnTo>
                <a:lnTo>
                  <a:pt x="198" y="126"/>
                </a:lnTo>
                <a:lnTo>
                  <a:pt x="198" y="120"/>
                </a:lnTo>
                <a:lnTo>
                  <a:pt x="204" y="120"/>
                </a:lnTo>
                <a:lnTo>
                  <a:pt x="204" y="126"/>
                </a:lnTo>
                <a:lnTo>
                  <a:pt x="210" y="126"/>
                </a:lnTo>
                <a:lnTo>
                  <a:pt x="216" y="120"/>
                </a:lnTo>
                <a:lnTo>
                  <a:pt x="222" y="120"/>
                </a:lnTo>
                <a:lnTo>
                  <a:pt x="222" y="114"/>
                </a:lnTo>
                <a:lnTo>
                  <a:pt x="222" y="108"/>
                </a:lnTo>
                <a:lnTo>
                  <a:pt x="216" y="108"/>
                </a:lnTo>
                <a:lnTo>
                  <a:pt x="216" y="102"/>
                </a:lnTo>
                <a:lnTo>
                  <a:pt x="222" y="102"/>
                </a:lnTo>
                <a:lnTo>
                  <a:pt x="222" y="96"/>
                </a:lnTo>
                <a:lnTo>
                  <a:pt x="216" y="96"/>
                </a:lnTo>
                <a:lnTo>
                  <a:pt x="210" y="96"/>
                </a:lnTo>
                <a:lnTo>
                  <a:pt x="210" y="90"/>
                </a:lnTo>
                <a:lnTo>
                  <a:pt x="210" y="84"/>
                </a:lnTo>
                <a:lnTo>
                  <a:pt x="210" y="78"/>
                </a:lnTo>
                <a:lnTo>
                  <a:pt x="216" y="78"/>
                </a:lnTo>
                <a:lnTo>
                  <a:pt x="222" y="84"/>
                </a:lnTo>
                <a:lnTo>
                  <a:pt x="222" y="90"/>
                </a:lnTo>
                <a:lnTo>
                  <a:pt x="228" y="90"/>
                </a:lnTo>
                <a:lnTo>
                  <a:pt x="234" y="90"/>
                </a:lnTo>
                <a:lnTo>
                  <a:pt x="240" y="90"/>
                </a:lnTo>
                <a:lnTo>
                  <a:pt x="246" y="90"/>
                </a:lnTo>
                <a:lnTo>
                  <a:pt x="246" y="84"/>
                </a:lnTo>
                <a:lnTo>
                  <a:pt x="252" y="84"/>
                </a:lnTo>
                <a:lnTo>
                  <a:pt x="252" y="78"/>
                </a:lnTo>
                <a:lnTo>
                  <a:pt x="252" y="72"/>
                </a:lnTo>
                <a:lnTo>
                  <a:pt x="258" y="78"/>
                </a:lnTo>
                <a:lnTo>
                  <a:pt x="264" y="78"/>
                </a:lnTo>
                <a:lnTo>
                  <a:pt x="270" y="84"/>
                </a:lnTo>
                <a:lnTo>
                  <a:pt x="270" y="90"/>
                </a:lnTo>
                <a:lnTo>
                  <a:pt x="276" y="90"/>
                </a:lnTo>
                <a:lnTo>
                  <a:pt x="276" y="84"/>
                </a:lnTo>
                <a:lnTo>
                  <a:pt x="276" y="78"/>
                </a:lnTo>
                <a:lnTo>
                  <a:pt x="276" y="72"/>
                </a:lnTo>
                <a:lnTo>
                  <a:pt x="276" y="66"/>
                </a:lnTo>
                <a:lnTo>
                  <a:pt x="270" y="66"/>
                </a:lnTo>
                <a:lnTo>
                  <a:pt x="276" y="60"/>
                </a:lnTo>
                <a:lnTo>
                  <a:pt x="282" y="60"/>
                </a:lnTo>
                <a:lnTo>
                  <a:pt x="276" y="54"/>
                </a:lnTo>
                <a:lnTo>
                  <a:pt x="270" y="48"/>
                </a:lnTo>
                <a:lnTo>
                  <a:pt x="270" y="42"/>
                </a:lnTo>
                <a:lnTo>
                  <a:pt x="264" y="36"/>
                </a:lnTo>
                <a:lnTo>
                  <a:pt x="264" y="30"/>
                </a:lnTo>
                <a:lnTo>
                  <a:pt x="270" y="30"/>
                </a:lnTo>
                <a:lnTo>
                  <a:pt x="270" y="24"/>
                </a:lnTo>
                <a:lnTo>
                  <a:pt x="276" y="24"/>
                </a:lnTo>
                <a:lnTo>
                  <a:pt x="282" y="24"/>
                </a:lnTo>
                <a:lnTo>
                  <a:pt x="282" y="18"/>
                </a:lnTo>
                <a:lnTo>
                  <a:pt x="288" y="18"/>
                </a:lnTo>
                <a:lnTo>
                  <a:pt x="282" y="18"/>
                </a:lnTo>
                <a:lnTo>
                  <a:pt x="282" y="12"/>
                </a:lnTo>
                <a:lnTo>
                  <a:pt x="288" y="12"/>
                </a:lnTo>
                <a:lnTo>
                  <a:pt x="288" y="6"/>
                </a:lnTo>
                <a:lnTo>
                  <a:pt x="294" y="6"/>
                </a:lnTo>
                <a:lnTo>
                  <a:pt x="294" y="0"/>
                </a:lnTo>
                <a:lnTo>
                  <a:pt x="300" y="0"/>
                </a:lnTo>
                <a:lnTo>
                  <a:pt x="306" y="0"/>
                </a:lnTo>
                <a:lnTo>
                  <a:pt x="306" y="6"/>
                </a:lnTo>
                <a:lnTo>
                  <a:pt x="312" y="6"/>
                </a:lnTo>
                <a:lnTo>
                  <a:pt x="324" y="6"/>
                </a:lnTo>
                <a:lnTo>
                  <a:pt x="330" y="6"/>
                </a:lnTo>
                <a:lnTo>
                  <a:pt x="330" y="12"/>
                </a:lnTo>
                <a:lnTo>
                  <a:pt x="336" y="12"/>
                </a:lnTo>
                <a:lnTo>
                  <a:pt x="330" y="12"/>
                </a:lnTo>
                <a:lnTo>
                  <a:pt x="336" y="18"/>
                </a:lnTo>
                <a:lnTo>
                  <a:pt x="336" y="24"/>
                </a:lnTo>
                <a:lnTo>
                  <a:pt x="330" y="24"/>
                </a:lnTo>
                <a:lnTo>
                  <a:pt x="324" y="24"/>
                </a:lnTo>
                <a:lnTo>
                  <a:pt x="324" y="30"/>
                </a:lnTo>
                <a:lnTo>
                  <a:pt x="330" y="30"/>
                </a:lnTo>
                <a:lnTo>
                  <a:pt x="330" y="36"/>
                </a:lnTo>
                <a:lnTo>
                  <a:pt x="330" y="30"/>
                </a:lnTo>
                <a:lnTo>
                  <a:pt x="336" y="30"/>
                </a:lnTo>
                <a:lnTo>
                  <a:pt x="336" y="36"/>
                </a:lnTo>
                <a:lnTo>
                  <a:pt x="330" y="36"/>
                </a:lnTo>
                <a:lnTo>
                  <a:pt x="330" y="42"/>
                </a:lnTo>
                <a:lnTo>
                  <a:pt x="336" y="42"/>
                </a:lnTo>
                <a:lnTo>
                  <a:pt x="342" y="42"/>
                </a:lnTo>
                <a:lnTo>
                  <a:pt x="342" y="48"/>
                </a:lnTo>
                <a:lnTo>
                  <a:pt x="342" y="42"/>
                </a:lnTo>
                <a:lnTo>
                  <a:pt x="348" y="42"/>
                </a:lnTo>
                <a:lnTo>
                  <a:pt x="354" y="42"/>
                </a:lnTo>
                <a:lnTo>
                  <a:pt x="354" y="48"/>
                </a:lnTo>
                <a:lnTo>
                  <a:pt x="348" y="48"/>
                </a:lnTo>
                <a:lnTo>
                  <a:pt x="348" y="54"/>
                </a:lnTo>
                <a:lnTo>
                  <a:pt x="348" y="60"/>
                </a:lnTo>
                <a:lnTo>
                  <a:pt x="354" y="60"/>
                </a:lnTo>
                <a:lnTo>
                  <a:pt x="354" y="66"/>
                </a:lnTo>
                <a:lnTo>
                  <a:pt x="348" y="66"/>
                </a:lnTo>
                <a:lnTo>
                  <a:pt x="342" y="72"/>
                </a:lnTo>
                <a:lnTo>
                  <a:pt x="348" y="72"/>
                </a:lnTo>
                <a:lnTo>
                  <a:pt x="348" y="78"/>
                </a:lnTo>
                <a:lnTo>
                  <a:pt x="354" y="78"/>
                </a:lnTo>
                <a:lnTo>
                  <a:pt x="354" y="72"/>
                </a:lnTo>
                <a:lnTo>
                  <a:pt x="360" y="66"/>
                </a:lnTo>
                <a:lnTo>
                  <a:pt x="360" y="72"/>
                </a:lnTo>
                <a:lnTo>
                  <a:pt x="366" y="78"/>
                </a:lnTo>
                <a:lnTo>
                  <a:pt x="366" y="72"/>
                </a:lnTo>
                <a:lnTo>
                  <a:pt x="372" y="72"/>
                </a:lnTo>
                <a:lnTo>
                  <a:pt x="372" y="66"/>
                </a:lnTo>
                <a:lnTo>
                  <a:pt x="378" y="66"/>
                </a:lnTo>
                <a:lnTo>
                  <a:pt x="384" y="66"/>
                </a:lnTo>
                <a:lnTo>
                  <a:pt x="390" y="66"/>
                </a:lnTo>
                <a:lnTo>
                  <a:pt x="390" y="72"/>
                </a:lnTo>
                <a:lnTo>
                  <a:pt x="396" y="72"/>
                </a:lnTo>
                <a:lnTo>
                  <a:pt x="396" y="78"/>
                </a:lnTo>
                <a:lnTo>
                  <a:pt x="402" y="78"/>
                </a:lnTo>
                <a:lnTo>
                  <a:pt x="408" y="78"/>
                </a:lnTo>
                <a:lnTo>
                  <a:pt x="408" y="84"/>
                </a:lnTo>
                <a:lnTo>
                  <a:pt x="414" y="84"/>
                </a:lnTo>
                <a:lnTo>
                  <a:pt x="420" y="84"/>
                </a:lnTo>
                <a:lnTo>
                  <a:pt x="426" y="84"/>
                </a:lnTo>
                <a:lnTo>
                  <a:pt x="426" y="90"/>
                </a:lnTo>
                <a:lnTo>
                  <a:pt x="432" y="90"/>
                </a:lnTo>
                <a:lnTo>
                  <a:pt x="432" y="96"/>
                </a:lnTo>
                <a:lnTo>
                  <a:pt x="438" y="96"/>
                </a:lnTo>
                <a:lnTo>
                  <a:pt x="438" y="102"/>
                </a:lnTo>
                <a:lnTo>
                  <a:pt x="438" y="108"/>
                </a:lnTo>
                <a:lnTo>
                  <a:pt x="438" y="114"/>
                </a:lnTo>
                <a:lnTo>
                  <a:pt x="432" y="114"/>
                </a:lnTo>
                <a:lnTo>
                  <a:pt x="432" y="120"/>
                </a:lnTo>
                <a:lnTo>
                  <a:pt x="438" y="126"/>
                </a:lnTo>
                <a:lnTo>
                  <a:pt x="438" y="132"/>
                </a:lnTo>
                <a:lnTo>
                  <a:pt x="444" y="132"/>
                </a:lnTo>
                <a:lnTo>
                  <a:pt x="444" y="126"/>
                </a:lnTo>
                <a:lnTo>
                  <a:pt x="444" y="120"/>
                </a:lnTo>
                <a:lnTo>
                  <a:pt x="450" y="120"/>
                </a:lnTo>
                <a:lnTo>
                  <a:pt x="450" y="114"/>
                </a:lnTo>
                <a:lnTo>
                  <a:pt x="456" y="114"/>
                </a:lnTo>
                <a:lnTo>
                  <a:pt x="462" y="114"/>
                </a:lnTo>
                <a:lnTo>
                  <a:pt x="468" y="114"/>
                </a:lnTo>
                <a:lnTo>
                  <a:pt x="468" y="120"/>
                </a:lnTo>
                <a:lnTo>
                  <a:pt x="474" y="120"/>
                </a:lnTo>
                <a:lnTo>
                  <a:pt x="480" y="120"/>
                </a:lnTo>
                <a:lnTo>
                  <a:pt x="486" y="126"/>
                </a:lnTo>
                <a:lnTo>
                  <a:pt x="492" y="126"/>
                </a:lnTo>
                <a:lnTo>
                  <a:pt x="504" y="126"/>
                </a:lnTo>
                <a:lnTo>
                  <a:pt x="504" y="132"/>
                </a:lnTo>
                <a:lnTo>
                  <a:pt x="510" y="132"/>
                </a:lnTo>
                <a:lnTo>
                  <a:pt x="510" y="138"/>
                </a:lnTo>
                <a:lnTo>
                  <a:pt x="510" y="132"/>
                </a:lnTo>
                <a:lnTo>
                  <a:pt x="516" y="138"/>
                </a:lnTo>
                <a:lnTo>
                  <a:pt x="522" y="138"/>
                </a:lnTo>
                <a:lnTo>
                  <a:pt x="522" y="132"/>
                </a:lnTo>
                <a:lnTo>
                  <a:pt x="522" y="126"/>
                </a:lnTo>
                <a:lnTo>
                  <a:pt x="528" y="126"/>
                </a:lnTo>
                <a:lnTo>
                  <a:pt x="528" y="132"/>
                </a:lnTo>
                <a:lnTo>
                  <a:pt x="534" y="132"/>
                </a:lnTo>
                <a:lnTo>
                  <a:pt x="540" y="132"/>
                </a:lnTo>
                <a:lnTo>
                  <a:pt x="540" y="126"/>
                </a:lnTo>
                <a:lnTo>
                  <a:pt x="540" y="120"/>
                </a:lnTo>
                <a:lnTo>
                  <a:pt x="534" y="120"/>
                </a:lnTo>
                <a:lnTo>
                  <a:pt x="528" y="114"/>
                </a:lnTo>
                <a:lnTo>
                  <a:pt x="534" y="114"/>
                </a:lnTo>
                <a:lnTo>
                  <a:pt x="534" y="108"/>
                </a:lnTo>
                <a:lnTo>
                  <a:pt x="534" y="102"/>
                </a:lnTo>
                <a:lnTo>
                  <a:pt x="540" y="102"/>
                </a:lnTo>
                <a:lnTo>
                  <a:pt x="546" y="102"/>
                </a:lnTo>
                <a:lnTo>
                  <a:pt x="552" y="108"/>
                </a:lnTo>
                <a:lnTo>
                  <a:pt x="558" y="108"/>
                </a:lnTo>
                <a:lnTo>
                  <a:pt x="558" y="114"/>
                </a:lnTo>
                <a:lnTo>
                  <a:pt x="564" y="114"/>
                </a:lnTo>
                <a:lnTo>
                  <a:pt x="564" y="120"/>
                </a:lnTo>
                <a:lnTo>
                  <a:pt x="564" y="114"/>
                </a:lnTo>
                <a:lnTo>
                  <a:pt x="564" y="108"/>
                </a:lnTo>
                <a:lnTo>
                  <a:pt x="570" y="108"/>
                </a:lnTo>
                <a:lnTo>
                  <a:pt x="576" y="108"/>
                </a:lnTo>
                <a:lnTo>
                  <a:pt x="576" y="102"/>
                </a:lnTo>
                <a:lnTo>
                  <a:pt x="582" y="96"/>
                </a:lnTo>
                <a:lnTo>
                  <a:pt x="582" y="102"/>
                </a:lnTo>
                <a:lnTo>
                  <a:pt x="588" y="102"/>
                </a:lnTo>
                <a:lnTo>
                  <a:pt x="588" y="108"/>
                </a:lnTo>
                <a:lnTo>
                  <a:pt x="588" y="114"/>
                </a:lnTo>
                <a:lnTo>
                  <a:pt x="594" y="114"/>
                </a:lnTo>
                <a:lnTo>
                  <a:pt x="594" y="108"/>
                </a:lnTo>
                <a:lnTo>
                  <a:pt x="600" y="108"/>
                </a:lnTo>
                <a:lnTo>
                  <a:pt x="606" y="108"/>
                </a:lnTo>
                <a:lnTo>
                  <a:pt x="600" y="108"/>
                </a:lnTo>
                <a:lnTo>
                  <a:pt x="600" y="102"/>
                </a:lnTo>
                <a:lnTo>
                  <a:pt x="606" y="102"/>
                </a:lnTo>
                <a:lnTo>
                  <a:pt x="612" y="102"/>
                </a:lnTo>
                <a:lnTo>
                  <a:pt x="618" y="102"/>
                </a:lnTo>
                <a:lnTo>
                  <a:pt x="618" y="96"/>
                </a:lnTo>
                <a:lnTo>
                  <a:pt x="618" y="90"/>
                </a:lnTo>
                <a:lnTo>
                  <a:pt x="624" y="84"/>
                </a:lnTo>
                <a:lnTo>
                  <a:pt x="624" y="78"/>
                </a:lnTo>
                <a:lnTo>
                  <a:pt x="624" y="72"/>
                </a:lnTo>
                <a:lnTo>
                  <a:pt x="624" y="66"/>
                </a:lnTo>
                <a:lnTo>
                  <a:pt x="618" y="60"/>
                </a:lnTo>
                <a:lnTo>
                  <a:pt x="624" y="60"/>
                </a:lnTo>
                <a:lnTo>
                  <a:pt x="630" y="60"/>
                </a:lnTo>
                <a:lnTo>
                  <a:pt x="636" y="60"/>
                </a:lnTo>
                <a:lnTo>
                  <a:pt x="642" y="60"/>
                </a:lnTo>
                <a:lnTo>
                  <a:pt x="642" y="66"/>
                </a:lnTo>
                <a:lnTo>
                  <a:pt x="642" y="72"/>
                </a:lnTo>
                <a:lnTo>
                  <a:pt x="648" y="72"/>
                </a:lnTo>
                <a:lnTo>
                  <a:pt x="648" y="78"/>
                </a:lnTo>
                <a:lnTo>
                  <a:pt x="642" y="84"/>
                </a:lnTo>
                <a:lnTo>
                  <a:pt x="636" y="90"/>
                </a:lnTo>
                <a:lnTo>
                  <a:pt x="636" y="96"/>
                </a:lnTo>
                <a:lnTo>
                  <a:pt x="636" y="102"/>
                </a:lnTo>
                <a:lnTo>
                  <a:pt x="642" y="102"/>
                </a:lnTo>
                <a:lnTo>
                  <a:pt x="648" y="102"/>
                </a:lnTo>
                <a:lnTo>
                  <a:pt x="648" y="108"/>
                </a:lnTo>
                <a:lnTo>
                  <a:pt x="654" y="108"/>
                </a:lnTo>
                <a:lnTo>
                  <a:pt x="654" y="114"/>
                </a:lnTo>
                <a:lnTo>
                  <a:pt x="660" y="114"/>
                </a:lnTo>
                <a:lnTo>
                  <a:pt x="660" y="120"/>
                </a:lnTo>
                <a:lnTo>
                  <a:pt x="666" y="114"/>
                </a:lnTo>
                <a:lnTo>
                  <a:pt x="672" y="114"/>
                </a:lnTo>
                <a:lnTo>
                  <a:pt x="678" y="114"/>
                </a:lnTo>
                <a:lnTo>
                  <a:pt x="678" y="120"/>
                </a:lnTo>
                <a:lnTo>
                  <a:pt x="672" y="120"/>
                </a:lnTo>
                <a:lnTo>
                  <a:pt x="672" y="126"/>
                </a:lnTo>
                <a:lnTo>
                  <a:pt x="678" y="132"/>
                </a:lnTo>
                <a:lnTo>
                  <a:pt x="678" y="138"/>
                </a:lnTo>
                <a:lnTo>
                  <a:pt x="672" y="138"/>
                </a:lnTo>
                <a:lnTo>
                  <a:pt x="672" y="144"/>
                </a:lnTo>
                <a:lnTo>
                  <a:pt x="672" y="150"/>
                </a:lnTo>
                <a:lnTo>
                  <a:pt x="678" y="150"/>
                </a:lnTo>
                <a:lnTo>
                  <a:pt x="672" y="150"/>
                </a:lnTo>
                <a:lnTo>
                  <a:pt x="672" y="156"/>
                </a:lnTo>
                <a:lnTo>
                  <a:pt x="678" y="156"/>
                </a:lnTo>
                <a:lnTo>
                  <a:pt x="684" y="150"/>
                </a:lnTo>
                <a:lnTo>
                  <a:pt x="690" y="150"/>
                </a:lnTo>
                <a:lnTo>
                  <a:pt x="696" y="150"/>
                </a:lnTo>
                <a:lnTo>
                  <a:pt x="702" y="150"/>
                </a:lnTo>
                <a:lnTo>
                  <a:pt x="708" y="150"/>
                </a:lnTo>
                <a:lnTo>
                  <a:pt x="708" y="144"/>
                </a:lnTo>
                <a:lnTo>
                  <a:pt x="714" y="144"/>
                </a:lnTo>
                <a:lnTo>
                  <a:pt x="720" y="144"/>
                </a:lnTo>
                <a:lnTo>
                  <a:pt x="732" y="144"/>
                </a:lnTo>
                <a:lnTo>
                  <a:pt x="744" y="138"/>
                </a:lnTo>
                <a:lnTo>
                  <a:pt x="750" y="138"/>
                </a:lnTo>
                <a:lnTo>
                  <a:pt x="756" y="132"/>
                </a:lnTo>
                <a:lnTo>
                  <a:pt x="762" y="132"/>
                </a:lnTo>
                <a:lnTo>
                  <a:pt x="768" y="132"/>
                </a:lnTo>
                <a:lnTo>
                  <a:pt x="774" y="132"/>
                </a:lnTo>
                <a:lnTo>
                  <a:pt x="774" y="138"/>
                </a:lnTo>
                <a:lnTo>
                  <a:pt x="768" y="144"/>
                </a:lnTo>
                <a:lnTo>
                  <a:pt x="780" y="150"/>
                </a:lnTo>
                <a:lnTo>
                  <a:pt x="780" y="144"/>
                </a:lnTo>
                <a:lnTo>
                  <a:pt x="780" y="150"/>
                </a:lnTo>
                <a:lnTo>
                  <a:pt x="786" y="150"/>
                </a:lnTo>
                <a:lnTo>
                  <a:pt x="786" y="156"/>
                </a:lnTo>
                <a:lnTo>
                  <a:pt x="786" y="162"/>
                </a:lnTo>
                <a:lnTo>
                  <a:pt x="786" y="168"/>
                </a:lnTo>
                <a:lnTo>
                  <a:pt x="792" y="168"/>
                </a:lnTo>
                <a:lnTo>
                  <a:pt x="798" y="168"/>
                </a:lnTo>
                <a:lnTo>
                  <a:pt x="804" y="168"/>
                </a:lnTo>
                <a:lnTo>
                  <a:pt x="810" y="168"/>
                </a:lnTo>
                <a:lnTo>
                  <a:pt x="816" y="168"/>
                </a:lnTo>
                <a:lnTo>
                  <a:pt x="816" y="174"/>
                </a:lnTo>
                <a:lnTo>
                  <a:pt x="822" y="174"/>
                </a:lnTo>
                <a:lnTo>
                  <a:pt x="828" y="180"/>
                </a:lnTo>
                <a:lnTo>
                  <a:pt x="834" y="180"/>
                </a:lnTo>
                <a:lnTo>
                  <a:pt x="840" y="174"/>
                </a:lnTo>
                <a:lnTo>
                  <a:pt x="846" y="174"/>
                </a:lnTo>
                <a:lnTo>
                  <a:pt x="846" y="168"/>
                </a:lnTo>
                <a:lnTo>
                  <a:pt x="846" y="174"/>
                </a:lnTo>
                <a:lnTo>
                  <a:pt x="840" y="168"/>
                </a:lnTo>
                <a:lnTo>
                  <a:pt x="846" y="168"/>
                </a:lnTo>
                <a:lnTo>
                  <a:pt x="852" y="168"/>
                </a:lnTo>
                <a:lnTo>
                  <a:pt x="852" y="162"/>
                </a:lnTo>
                <a:lnTo>
                  <a:pt x="846" y="162"/>
                </a:lnTo>
                <a:lnTo>
                  <a:pt x="840" y="162"/>
                </a:lnTo>
                <a:lnTo>
                  <a:pt x="846" y="162"/>
                </a:lnTo>
                <a:lnTo>
                  <a:pt x="846" y="156"/>
                </a:lnTo>
                <a:lnTo>
                  <a:pt x="846" y="162"/>
                </a:lnTo>
                <a:lnTo>
                  <a:pt x="852" y="162"/>
                </a:lnTo>
                <a:lnTo>
                  <a:pt x="852" y="156"/>
                </a:lnTo>
                <a:lnTo>
                  <a:pt x="846" y="156"/>
                </a:lnTo>
                <a:lnTo>
                  <a:pt x="846" y="150"/>
                </a:lnTo>
                <a:lnTo>
                  <a:pt x="852" y="150"/>
                </a:lnTo>
                <a:lnTo>
                  <a:pt x="852" y="144"/>
                </a:lnTo>
                <a:lnTo>
                  <a:pt x="846" y="144"/>
                </a:lnTo>
                <a:lnTo>
                  <a:pt x="852" y="144"/>
                </a:lnTo>
                <a:lnTo>
                  <a:pt x="852" y="138"/>
                </a:lnTo>
                <a:lnTo>
                  <a:pt x="852" y="144"/>
                </a:lnTo>
                <a:lnTo>
                  <a:pt x="858" y="138"/>
                </a:lnTo>
                <a:lnTo>
                  <a:pt x="858" y="144"/>
                </a:lnTo>
                <a:lnTo>
                  <a:pt x="864" y="144"/>
                </a:lnTo>
                <a:lnTo>
                  <a:pt x="864" y="138"/>
                </a:lnTo>
                <a:lnTo>
                  <a:pt x="864" y="144"/>
                </a:lnTo>
                <a:lnTo>
                  <a:pt x="870" y="150"/>
                </a:lnTo>
                <a:lnTo>
                  <a:pt x="870" y="144"/>
                </a:lnTo>
                <a:lnTo>
                  <a:pt x="876" y="144"/>
                </a:lnTo>
                <a:lnTo>
                  <a:pt x="876" y="138"/>
                </a:lnTo>
                <a:lnTo>
                  <a:pt x="882" y="138"/>
                </a:lnTo>
                <a:lnTo>
                  <a:pt x="888" y="138"/>
                </a:lnTo>
                <a:lnTo>
                  <a:pt x="894" y="132"/>
                </a:lnTo>
                <a:lnTo>
                  <a:pt x="900" y="132"/>
                </a:lnTo>
                <a:lnTo>
                  <a:pt x="906" y="132"/>
                </a:lnTo>
                <a:lnTo>
                  <a:pt x="906" y="126"/>
                </a:lnTo>
                <a:lnTo>
                  <a:pt x="900" y="126"/>
                </a:lnTo>
                <a:lnTo>
                  <a:pt x="900" y="120"/>
                </a:lnTo>
                <a:lnTo>
                  <a:pt x="906" y="120"/>
                </a:lnTo>
                <a:lnTo>
                  <a:pt x="912" y="120"/>
                </a:lnTo>
                <a:lnTo>
                  <a:pt x="918" y="120"/>
                </a:lnTo>
                <a:lnTo>
                  <a:pt x="924" y="114"/>
                </a:lnTo>
                <a:lnTo>
                  <a:pt x="930" y="114"/>
                </a:lnTo>
                <a:lnTo>
                  <a:pt x="930" y="120"/>
                </a:lnTo>
                <a:lnTo>
                  <a:pt x="936" y="120"/>
                </a:lnTo>
                <a:lnTo>
                  <a:pt x="936" y="126"/>
                </a:lnTo>
                <a:lnTo>
                  <a:pt x="942" y="132"/>
                </a:lnTo>
                <a:lnTo>
                  <a:pt x="948" y="138"/>
                </a:lnTo>
                <a:lnTo>
                  <a:pt x="954" y="138"/>
                </a:lnTo>
                <a:lnTo>
                  <a:pt x="960" y="132"/>
                </a:lnTo>
                <a:lnTo>
                  <a:pt x="960" y="138"/>
                </a:lnTo>
                <a:lnTo>
                  <a:pt x="966" y="138"/>
                </a:lnTo>
                <a:lnTo>
                  <a:pt x="972" y="138"/>
                </a:lnTo>
                <a:lnTo>
                  <a:pt x="978" y="138"/>
                </a:lnTo>
                <a:lnTo>
                  <a:pt x="978" y="132"/>
                </a:lnTo>
                <a:lnTo>
                  <a:pt x="984" y="132"/>
                </a:lnTo>
                <a:lnTo>
                  <a:pt x="978" y="132"/>
                </a:lnTo>
                <a:lnTo>
                  <a:pt x="978" y="126"/>
                </a:lnTo>
                <a:lnTo>
                  <a:pt x="984" y="126"/>
                </a:lnTo>
                <a:lnTo>
                  <a:pt x="984" y="120"/>
                </a:lnTo>
                <a:lnTo>
                  <a:pt x="978" y="120"/>
                </a:lnTo>
                <a:lnTo>
                  <a:pt x="978" y="114"/>
                </a:lnTo>
                <a:lnTo>
                  <a:pt x="984" y="114"/>
                </a:lnTo>
                <a:lnTo>
                  <a:pt x="984" y="108"/>
                </a:lnTo>
                <a:lnTo>
                  <a:pt x="990" y="108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1" name="Freeform 17">
            <a:extLst>
              <a:ext uri="{FF2B5EF4-FFF2-40B4-BE49-F238E27FC236}">
                <a16:creationId xmlns:a16="http://schemas.microsoft.com/office/drawing/2014/main" id="{37A0EE78-81C2-4EFE-8BEC-47FADC5BAD8C}"/>
              </a:ext>
            </a:extLst>
          </p:cNvPr>
          <p:cNvSpPr>
            <a:spLocks/>
          </p:cNvSpPr>
          <p:nvPr/>
        </p:nvSpPr>
        <p:spPr bwMode="gray">
          <a:xfrm rot="533595">
            <a:off x="5885833" y="4734926"/>
            <a:ext cx="1115777" cy="883808"/>
          </a:xfrm>
          <a:custGeom>
            <a:avLst/>
            <a:gdLst>
              <a:gd name="T0" fmla="*/ 1002 w 1230"/>
              <a:gd name="T1" fmla="*/ 120 h 1044"/>
              <a:gd name="T2" fmla="*/ 1020 w 1230"/>
              <a:gd name="T3" fmla="*/ 192 h 1044"/>
              <a:gd name="T4" fmla="*/ 1038 w 1230"/>
              <a:gd name="T5" fmla="*/ 234 h 1044"/>
              <a:gd name="T6" fmla="*/ 1038 w 1230"/>
              <a:gd name="T7" fmla="*/ 288 h 1044"/>
              <a:gd name="T8" fmla="*/ 1050 w 1230"/>
              <a:gd name="T9" fmla="*/ 360 h 1044"/>
              <a:gd name="T10" fmla="*/ 1110 w 1230"/>
              <a:gd name="T11" fmla="*/ 396 h 1044"/>
              <a:gd name="T12" fmla="*/ 1116 w 1230"/>
              <a:gd name="T13" fmla="*/ 432 h 1044"/>
              <a:gd name="T14" fmla="*/ 1110 w 1230"/>
              <a:gd name="T15" fmla="*/ 468 h 1044"/>
              <a:gd name="T16" fmla="*/ 1152 w 1230"/>
              <a:gd name="T17" fmla="*/ 522 h 1044"/>
              <a:gd name="T18" fmla="*/ 1176 w 1230"/>
              <a:gd name="T19" fmla="*/ 594 h 1044"/>
              <a:gd name="T20" fmla="*/ 1188 w 1230"/>
              <a:gd name="T21" fmla="*/ 654 h 1044"/>
              <a:gd name="T22" fmla="*/ 1218 w 1230"/>
              <a:gd name="T23" fmla="*/ 708 h 1044"/>
              <a:gd name="T24" fmla="*/ 1164 w 1230"/>
              <a:gd name="T25" fmla="*/ 726 h 1044"/>
              <a:gd name="T26" fmla="*/ 1104 w 1230"/>
              <a:gd name="T27" fmla="*/ 768 h 1044"/>
              <a:gd name="T28" fmla="*/ 1080 w 1230"/>
              <a:gd name="T29" fmla="*/ 810 h 1044"/>
              <a:gd name="T30" fmla="*/ 1026 w 1230"/>
              <a:gd name="T31" fmla="*/ 870 h 1044"/>
              <a:gd name="T32" fmla="*/ 966 w 1230"/>
              <a:gd name="T33" fmla="*/ 846 h 1044"/>
              <a:gd name="T34" fmla="*/ 924 w 1230"/>
              <a:gd name="T35" fmla="*/ 834 h 1044"/>
              <a:gd name="T36" fmla="*/ 846 w 1230"/>
              <a:gd name="T37" fmla="*/ 822 h 1044"/>
              <a:gd name="T38" fmla="*/ 774 w 1230"/>
              <a:gd name="T39" fmla="*/ 828 h 1044"/>
              <a:gd name="T40" fmla="*/ 702 w 1230"/>
              <a:gd name="T41" fmla="*/ 846 h 1044"/>
              <a:gd name="T42" fmla="*/ 660 w 1230"/>
              <a:gd name="T43" fmla="*/ 894 h 1044"/>
              <a:gd name="T44" fmla="*/ 600 w 1230"/>
              <a:gd name="T45" fmla="*/ 960 h 1044"/>
              <a:gd name="T46" fmla="*/ 576 w 1230"/>
              <a:gd name="T47" fmla="*/ 1032 h 1044"/>
              <a:gd name="T48" fmla="*/ 492 w 1230"/>
              <a:gd name="T49" fmla="*/ 1020 h 1044"/>
              <a:gd name="T50" fmla="*/ 420 w 1230"/>
              <a:gd name="T51" fmla="*/ 1020 h 1044"/>
              <a:gd name="T52" fmla="*/ 426 w 1230"/>
              <a:gd name="T53" fmla="*/ 930 h 1044"/>
              <a:gd name="T54" fmla="*/ 360 w 1230"/>
              <a:gd name="T55" fmla="*/ 888 h 1044"/>
              <a:gd name="T56" fmla="*/ 288 w 1230"/>
              <a:gd name="T57" fmla="*/ 828 h 1044"/>
              <a:gd name="T58" fmla="*/ 234 w 1230"/>
              <a:gd name="T59" fmla="*/ 750 h 1044"/>
              <a:gd name="T60" fmla="*/ 204 w 1230"/>
              <a:gd name="T61" fmla="*/ 696 h 1044"/>
              <a:gd name="T62" fmla="*/ 210 w 1230"/>
              <a:gd name="T63" fmla="*/ 642 h 1044"/>
              <a:gd name="T64" fmla="*/ 162 w 1230"/>
              <a:gd name="T65" fmla="*/ 618 h 1044"/>
              <a:gd name="T66" fmla="*/ 114 w 1230"/>
              <a:gd name="T67" fmla="*/ 576 h 1044"/>
              <a:gd name="T68" fmla="*/ 66 w 1230"/>
              <a:gd name="T69" fmla="*/ 570 h 1044"/>
              <a:gd name="T70" fmla="*/ 54 w 1230"/>
              <a:gd name="T71" fmla="*/ 498 h 1044"/>
              <a:gd name="T72" fmla="*/ 12 w 1230"/>
              <a:gd name="T73" fmla="*/ 498 h 1044"/>
              <a:gd name="T74" fmla="*/ 18 w 1230"/>
              <a:gd name="T75" fmla="*/ 438 h 1044"/>
              <a:gd name="T76" fmla="*/ 60 w 1230"/>
              <a:gd name="T77" fmla="*/ 414 h 1044"/>
              <a:gd name="T78" fmla="*/ 72 w 1230"/>
              <a:gd name="T79" fmla="*/ 348 h 1044"/>
              <a:gd name="T80" fmla="*/ 114 w 1230"/>
              <a:gd name="T81" fmla="*/ 324 h 1044"/>
              <a:gd name="T82" fmla="*/ 144 w 1230"/>
              <a:gd name="T83" fmla="*/ 288 h 1044"/>
              <a:gd name="T84" fmla="*/ 90 w 1230"/>
              <a:gd name="T85" fmla="*/ 246 h 1044"/>
              <a:gd name="T86" fmla="*/ 126 w 1230"/>
              <a:gd name="T87" fmla="*/ 192 h 1044"/>
              <a:gd name="T88" fmla="*/ 150 w 1230"/>
              <a:gd name="T89" fmla="*/ 150 h 1044"/>
              <a:gd name="T90" fmla="*/ 198 w 1230"/>
              <a:gd name="T91" fmla="*/ 120 h 1044"/>
              <a:gd name="T92" fmla="*/ 264 w 1230"/>
              <a:gd name="T93" fmla="*/ 72 h 1044"/>
              <a:gd name="T94" fmla="*/ 330 w 1230"/>
              <a:gd name="T95" fmla="*/ 72 h 1044"/>
              <a:gd name="T96" fmla="*/ 384 w 1230"/>
              <a:gd name="T97" fmla="*/ 36 h 1044"/>
              <a:gd name="T98" fmla="*/ 432 w 1230"/>
              <a:gd name="T99" fmla="*/ 0 h 1044"/>
              <a:gd name="T100" fmla="*/ 498 w 1230"/>
              <a:gd name="T101" fmla="*/ 6 h 1044"/>
              <a:gd name="T102" fmla="*/ 540 w 1230"/>
              <a:gd name="T103" fmla="*/ 30 h 1044"/>
              <a:gd name="T104" fmla="*/ 588 w 1230"/>
              <a:gd name="T105" fmla="*/ 96 h 1044"/>
              <a:gd name="T106" fmla="*/ 588 w 1230"/>
              <a:gd name="T107" fmla="*/ 132 h 1044"/>
              <a:gd name="T108" fmla="*/ 618 w 1230"/>
              <a:gd name="T109" fmla="*/ 186 h 1044"/>
              <a:gd name="T110" fmla="*/ 642 w 1230"/>
              <a:gd name="T111" fmla="*/ 216 h 1044"/>
              <a:gd name="T112" fmla="*/ 702 w 1230"/>
              <a:gd name="T113" fmla="*/ 222 h 1044"/>
              <a:gd name="T114" fmla="*/ 744 w 1230"/>
              <a:gd name="T115" fmla="*/ 204 h 1044"/>
              <a:gd name="T116" fmla="*/ 798 w 1230"/>
              <a:gd name="T117" fmla="*/ 150 h 1044"/>
              <a:gd name="T118" fmla="*/ 858 w 1230"/>
              <a:gd name="T119" fmla="*/ 114 h 1044"/>
              <a:gd name="T120" fmla="*/ 936 w 1230"/>
              <a:gd name="T121" fmla="*/ 84 h 1044"/>
              <a:gd name="T122" fmla="*/ 1008 w 1230"/>
              <a:gd name="T123" fmla="*/ 60 h 104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230" h="1044">
                <a:moveTo>
                  <a:pt x="1020" y="36"/>
                </a:moveTo>
                <a:lnTo>
                  <a:pt x="1020" y="42"/>
                </a:lnTo>
                <a:lnTo>
                  <a:pt x="1020" y="48"/>
                </a:lnTo>
                <a:lnTo>
                  <a:pt x="1026" y="54"/>
                </a:lnTo>
                <a:lnTo>
                  <a:pt x="1026" y="60"/>
                </a:lnTo>
                <a:lnTo>
                  <a:pt x="1026" y="66"/>
                </a:lnTo>
                <a:lnTo>
                  <a:pt x="1026" y="72"/>
                </a:lnTo>
                <a:lnTo>
                  <a:pt x="1032" y="72"/>
                </a:lnTo>
                <a:lnTo>
                  <a:pt x="1032" y="78"/>
                </a:lnTo>
                <a:lnTo>
                  <a:pt x="1026" y="78"/>
                </a:lnTo>
                <a:lnTo>
                  <a:pt x="1020" y="84"/>
                </a:lnTo>
                <a:lnTo>
                  <a:pt x="1014" y="84"/>
                </a:lnTo>
                <a:lnTo>
                  <a:pt x="1014" y="90"/>
                </a:lnTo>
                <a:lnTo>
                  <a:pt x="1014" y="96"/>
                </a:lnTo>
                <a:lnTo>
                  <a:pt x="1014" y="102"/>
                </a:lnTo>
                <a:lnTo>
                  <a:pt x="1008" y="108"/>
                </a:lnTo>
                <a:lnTo>
                  <a:pt x="1008" y="114"/>
                </a:lnTo>
                <a:lnTo>
                  <a:pt x="1002" y="114"/>
                </a:lnTo>
                <a:lnTo>
                  <a:pt x="1002" y="120"/>
                </a:lnTo>
                <a:lnTo>
                  <a:pt x="1002" y="126"/>
                </a:lnTo>
                <a:lnTo>
                  <a:pt x="1008" y="132"/>
                </a:lnTo>
                <a:lnTo>
                  <a:pt x="1014" y="132"/>
                </a:lnTo>
                <a:lnTo>
                  <a:pt x="1020" y="132"/>
                </a:lnTo>
                <a:lnTo>
                  <a:pt x="1020" y="138"/>
                </a:lnTo>
                <a:lnTo>
                  <a:pt x="1014" y="138"/>
                </a:lnTo>
                <a:lnTo>
                  <a:pt x="1008" y="138"/>
                </a:lnTo>
                <a:lnTo>
                  <a:pt x="1002" y="138"/>
                </a:lnTo>
                <a:lnTo>
                  <a:pt x="1002" y="144"/>
                </a:lnTo>
                <a:lnTo>
                  <a:pt x="1008" y="144"/>
                </a:lnTo>
                <a:lnTo>
                  <a:pt x="1008" y="150"/>
                </a:lnTo>
                <a:lnTo>
                  <a:pt x="1014" y="150"/>
                </a:lnTo>
                <a:lnTo>
                  <a:pt x="1014" y="156"/>
                </a:lnTo>
                <a:lnTo>
                  <a:pt x="1020" y="162"/>
                </a:lnTo>
                <a:lnTo>
                  <a:pt x="1020" y="168"/>
                </a:lnTo>
                <a:lnTo>
                  <a:pt x="1020" y="174"/>
                </a:lnTo>
                <a:lnTo>
                  <a:pt x="1020" y="180"/>
                </a:lnTo>
                <a:lnTo>
                  <a:pt x="1020" y="186"/>
                </a:lnTo>
                <a:lnTo>
                  <a:pt x="1020" y="192"/>
                </a:lnTo>
                <a:lnTo>
                  <a:pt x="1020" y="198"/>
                </a:lnTo>
                <a:lnTo>
                  <a:pt x="1014" y="204"/>
                </a:lnTo>
                <a:lnTo>
                  <a:pt x="1014" y="210"/>
                </a:lnTo>
                <a:lnTo>
                  <a:pt x="1020" y="210"/>
                </a:lnTo>
                <a:lnTo>
                  <a:pt x="1026" y="210"/>
                </a:lnTo>
                <a:lnTo>
                  <a:pt x="1026" y="216"/>
                </a:lnTo>
                <a:lnTo>
                  <a:pt x="1020" y="216"/>
                </a:lnTo>
                <a:lnTo>
                  <a:pt x="1014" y="216"/>
                </a:lnTo>
                <a:lnTo>
                  <a:pt x="1014" y="222"/>
                </a:lnTo>
                <a:lnTo>
                  <a:pt x="1014" y="228"/>
                </a:lnTo>
                <a:lnTo>
                  <a:pt x="1014" y="222"/>
                </a:lnTo>
                <a:lnTo>
                  <a:pt x="1020" y="222"/>
                </a:lnTo>
                <a:lnTo>
                  <a:pt x="1026" y="222"/>
                </a:lnTo>
                <a:lnTo>
                  <a:pt x="1032" y="222"/>
                </a:lnTo>
                <a:lnTo>
                  <a:pt x="1038" y="222"/>
                </a:lnTo>
                <a:lnTo>
                  <a:pt x="1038" y="228"/>
                </a:lnTo>
                <a:lnTo>
                  <a:pt x="1032" y="228"/>
                </a:lnTo>
                <a:lnTo>
                  <a:pt x="1032" y="234"/>
                </a:lnTo>
                <a:lnTo>
                  <a:pt x="1038" y="234"/>
                </a:lnTo>
                <a:lnTo>
                  <a:pt x="1038" y="240"/>
                </a:lnTo>
                <a:lnTo>
                  <a:pt x="1044" y="240"/>
                </a:lnTo>
                <a:lnTo>
                  <a:pt x="1044" y="246"/>
                </a:lnTo>
                <a:lnTo>
                  <a:pt x="1038" y="246"/>
                </a:lnTo>
                <a:lnTo>
                  <a:pt x="1032" y="246"/>
                </a:lnTo>
                <a:lnTo>
                  <a:pt x="1032" y="252"/>
                </a:lnTo>
                <a:lnTo>
                  <a:pt x="1026" y="252"/>
                </a:lnTo>
                <a:lnTo>
                  <a:pt x="1026" y="258"/>
                </a:lnTo>
                <a:lnTo>
                  <a:pt x="1032" y="258"/>
                </a:lnTo>
                <a:lnTo>
                  <a:pt x="1038" y="258"/>
                </a:lnTo>
                <a:lnTo>
                  <a:pt x="1038" y="264"/>
                </a:lnTo>
                <a:lnTo>
                  <a:pt x="1032" y="264"/>
                </a:lnTo>
                <a:lnTo>
                  <a:pt x="1032" y="270"/>
                </a:lnTo>
                <a:lnTo>
                  <a:pt x="1032" y="276"/>
                </a:lnTo>
                <a:lnTo>
                  <a:pt x="1026" y="276"/>
                </a:lnTo>
                <a:lnTo>
                  <a:pt x="1026" y="282"/>
                </a:lnTo>
                <a:lnTo>
                  <a:pt x="1026" y="288"/>
                </a:lnTo>
                <a:lnTo>
                  <a:pt x="1032" y="288"/>
                </a:lnTo>
                <a:lnTo>
                  <a:pt x="1038" y="288"/>
                </a:lnTo>
                <a:lnTo>
                  <a:pt x="1038" y="294"/>
                </a:lnTo>
                <a:lnTo>
                  <a:pt x="1044" y="294"/>
                </a:lnTo>
                <a:lnTo>
                  <a:pt x="1050" y="294"/>
                </a:lnTo>
                <a:lnTo>
                  <a:pt x="1050" y="300"/>
                </a:lnTo>
                <a:lnTo>
                  <a:pt x="1050" y="306"/>
                </a:lnTo>
                <a:lnTo>
                  <a:pt x="1044" y="312"/>
                </a:lnTo>
                <a:lnTo>
                  <a:pt x="1038" y="312"/>
                </a:lnTo>
                <a:lnTo>
                  <a:pt x="1038" y="318"/>
                </a:lnTo>
                <a:lnTo>
                  <a:pt x="1032" y="324"/>
                </a:lnTo>
                <a:lnTo>
                  <a:pt x="1032" y="330"/>
                </a:lnTo>
                <a:lnTo>
                  <a:pt x="1038" y="330"/>
                </a:lnTo>
                <a:lnTo>
                  <a:pt x="1038" y="336"/>
                </a:lnTo>
                <a:lnTo>
                  <a:pt x="1038" y="342"/>
                </a:lnTo>
                <a:lnTo>
                  <a:pt x="1044" y="348"/>
                </a:lnTo>
                <a:lnTo>
                  <a:pt x="1044" y="354"/>
                </a:lnTo>
                <a:lnTo>
                  <a:pt x="1044" y="360"/>
                </a:lnTo>
                <a:lnTo>
                  <a:pt x="1050" y="360"/>
                </a:lnTo>
                <a:lnTo>
                  <a:pt x="1044" y="360"/>
                </a:lnTo>
                <a:lnTo>
                  <a:pt x="1050" y="360"/>
                </a:lnTo>
                <a:lnTo>
                  <a:pt x="1050" y="366"/>
                </a:lnTo>
                <a:lnTo>
                  <a:pt x="1056" y="366"/>
                </a:lnTo>
                <a:lnTo>
                  <a:pt x="1056" y="372"/>
                </a:lnTo>
                <a:lnTo>
                  <a:pt x="1062" y="372"/>
                </a:lnTo>
                <a:lnTo>
                  <a:pt x="1068" y="372"/>
                </a:lnTo>
                <a:lnTo>
                  <a:pt x="1074" y="372"/>
                </a:lnTo>
                <a:lnTo>
                  <a:pt x="1080" y="372"/>
                </a:lnTo>
                <a:lnTo>
                  <a:pt x="1086" y="372"/>
                </a:lnTo>
                <a:lnTo>
                  <a:pt x="1086" y="366"/>
                </a:lnTo>
                <a:lnTo>
                  <a:pt x="1092" y="366"/>
                </a:lnTo>
                <a:lnTo>
                  <a:pt x="1092" y="372"/>
                </a:lnTo>
                <a:lnTo>
                  <a:pt x="1098" y="372"/>
                </a:lnTo>
                <a:lnTo>
                  <a:pt x="1098" y="366"/>
                </a:lnTo>
                <a:lnTo>
                  <a:pt x="1104" y="366"/>
                </a:lnTo>
                <a:lnTo>
                  <a:pt x="1110" y="372"/>
                </a:lnTo>
                <a:lnTo>
                  <a:pt x="1110" y="378"/>
                </a:lnTo>
                <a:lnTo>
                  <a:pt x="1110" y="384"/>
                </a:lnTo>
                <a:lnTo>
                  <a:pt x="1110" y="390"/>
                </a:lnTo>
                <a:lnTo>
                  <a:pt x="1110" y="396"/>
                </a:lnTo>
                <a:lnTo>
                  <a:pt x="1104" y="396"/>
                </a:lnTo>
                <a:lnTo>
                  <a:pt x="1104" y="402"/>
                </a:lnTo>
                <a:lnTo>
                  <a:pt x="1098" y="402"/>
                </a:lnTo>
                <a:lnTo>
                  <a:pt x="1092" y="402"/>
                </a:lnTo>
                <a:lnTo>
                  <a:pt x="1086" y="402"/>
                </a:lnTo>
                <a:lnTo>
                  <a:pt x="1086" y="408"/>
                </a:lnTo>
                <a:lnTo>
                  <a:pt x="1086" y="414"/>
                </a:lnTo>
                <a:lnTo>
                  <a:pt x="1086" y="420"/>
                </a:lnTo>
                <a:lnTo>
                  <a:pt x="1086" y="426"/>
                </a:lnTo>
                <a:lnTo>
                  <a:pt x="1092" y="426"/>
                </a:lnTo>
                <a:lnTo>
                  <a:pt x="1092" y="432"/>
                </a:lnTo>
                <a:lnTo>
                  <a:pt x="1098" y="432"/>
                </a:lnTo>
                <a:lnTo>
                  <a:pt x="1104" y="432"/>
                </a:lnTo>
                <a:lnTo>
                  <a:pt x="1104" y="438"/>
                </a:lnTo>
                <a:lnTo>
                  <a:pt x="1110" y="438"/>
                </a:lnTo>
                <a:lnTo>
                  <a:pt x="1110" y="432"/>
                </a:lnTo>
                <a:lnTo>
                  <a:pt x="1104" y="432"/>
                </a:lnTo>
                <a:lnTo>
                  <a:pt x="1110" y="432"/>
                </a:lnTo>
                <a:lnTo>
                  <a:pt x="1116" y="432"/>
                </a:lnTo>
                <a:lnTo>
                  <a:pt x="1122" y="432"/>
                </a:lnTo>
                <a:lnTo>
                  <a:pt x="1128" y="432"/>
                </a:lnTo>
                <a:lnTo>
                  <a:pt x="1134" y="432"/>
                </a:lnTo>
                <a:lnTo>
                  <a:pt x="1134" y="438"/>
                </a:lnTo>
                <a:lnTo>
                  <a:pt x="1140" y="438"/>
                </a:lnTo>
                <a:lnTo>
                  <a:pt x="1146" y="438"/>
                </a:lnTo>
                <a:lnTo>
                  <a:pt x="1146" y="444"/>
                </a:lnTo>
                <a:lnTo>
                  <a:pt x="1152" y="444"/>
                </a:lnTo>
                <a:lnTo>
                  <a:pt x="1152" y="450"/>
                </a:lnTo>
                <a:lnTo>
                  <a:pt x="1146" y="450"/>
                </a:lnTo>
                <a:lnTo>
                  <a:pt x="1146" y="456"/>
                </a:lnTo>
                <a:lnTo>
                  <a:pt x="1140" y="456"/>
                </a:lnTo>
                <a:lnTo>
                  <a:pt x="1140" y="462"/>
                </a:lnTo>
                <a:lnTo>
                  <a:pt x="1134" y="462"/>
                </a:lnTo>
                <a:lnTo>
                  <a:pt x="1128" y="462"/>
                </a:lnTo>
                <a:lnTo>
                  <a:pt x="1122" y="462"/>
                </a:lnTo>
                <a:lnTo>
                  <a:pt x="1116" y="462"/>
                </a:lnTo>
                <a:lnTo>
                  <a:pt x="1116" y="468"/>
                </a:lnTo>
                <a:lnTo>
                  <a:pt x="1110" y="468"/>
                </a:lnTo>
                <a:lnTo>
                  <a:pt x="1110" y="474"/>
                </a:lnTo>
                <a:lnTo>
                  <a:pt x="1104" y="474"/>
                </a:lnTo>
                <a:lnTo>
                  <a:pt x="1104" y="480"/>
                </a:lnTo>
                <a:lnTo>
                  <a:pt x="1104" y="486"/>
                </a:lnTo>
                <a:lnTo>
                  <a:pt x="1104" y="492"/>
                </a:lnTo>
                <a:lnTo>
                  <a:pt x="1110" y="492"/>
                </a:lnTo>
                <a:lnTo>
                  <a:pt x="1110" y="498"/>
                </a:lnTo>
                <a:lnTo>
                  <a:pt x="1116" y="504"/>
                </a:lnTo>
                <a:lnTo>
                  <a:pt x="1122" y="504"/>
                </a:lnTo>
                <a:lnTo>
                  <a:pt x="1128" y="504"/>
                </a:lnTo>
                <a:lnTo>
                  <a:pt x="1134" y="504"/>
                </a:lnTo>
                <a:lnTo>
                  <a:pt x="1134" y="498"/>
                </a:lnTo>
                <a:lnTo>
                  <a:pt x="1140" y="498"/>
                </a:lnTo>
                <a:lnTo>
                  <a:pt x="1140" y="504"/>
                </a:lnTo>
                <a:lnTo>
                  <a:pt x="1146" y="504"/>
                </a:lnTo>
                <a:lnTo>
                  <a:pt x="1146" y="510"/>
                </a:lnTo>
                <a:lnTo>
                  <a:pt x="1146" y="516"/>
                </a:lnTo>
                <a:lnTo>
                  <a:pt x="1152" y="516"/>
                </a:lnTo>
                <a:lnTo>
                  <a:pt x="1152" y="522"/>
                </a:lnTo>
                <a:lnTo>
                  <a:pt x="1158" y="528"/>
                </a:lnTo>
                <a:lnTo>
                  <a:pt x="1152" y="534"/>
                </a:lnTo>
                <a:lnTo>
                  <a:pt x="1152" y="540"/>
                </a:lnTo>
                <a:lnTo>
                  <a:pt x="1158" y="540"/>
                </a:lnTo>
                <a:lnTo>
                  <a:pt x="1164" y="540"/>
                </a:lnTo>
                <a:lnTo>
                  <a:pt x="1170" y="540"/>
                </a:lnTo>
                <a:lnTo>
                  <a:pt x="1170" y="546"/>
                </a:lnTo>
                <a:lnTo>
                  <a:pt x="1170" y="552"/>
                </a:lnTo>
                <a:lnTo>
                  <a:pt x="1164" y="552"/>
                </a:lnTo>
                <a:lnTo>
                  <a:pt x="1170" y="558"/>
                </a:lnTo>
                <a:lnTo>
                  <a:pt x="1170" y="564"/>
                </a:lnTo>
                <a:lnTo>
                  <a:pt x="1170" y="570"/>
                </a:lnTo>
                <a:lnTo>
                  <a:pt x="1170" y="576"/>
                </a:lnTo>
                <a:lnTo>
                  <a:pt x="1176" y="576"/>
                </a:lnTo>
                <a:lnTo>
                  <a:pt x="1176" y="582"/>
                </a:lnTo>
                <a:lnTo>
                  <a:pt x="1182" y="582"/>
                </a:lnTo>
                <a:lnTo>
                  <a:pt x="1182" y="588"/>
                </a:lnTo>
                <a:lnTo>
                  <a:pt x="1182" y="594"/>
                </a:lnTo>
                <a:lnTo>
                  <a:pt x="1176" y="594"/>
                </a:lnTo>
                <a:lnTo>
                  <a:pt x="1176" y="600"/>
                </a:lnTo>
                <a:lnTo>
                  <a:pt x="1170" y="600"/>
                </a:lnTo>
                <a:lnTo>
                  <a:pt x="1170" y="606"/>
                </a:lnTo>
                <a:lnTo>
                  <a:pt x="1176" y="606"/>
                </a:lnTo>
                <a:lnTo>
                  <a:pt x="1170" y="612"/>
                </a:lnTo>
                <a:lnTo>
                  <a:pt x="1170" y="618"/>
                </a:lnTo>
                <a:lnTo>
                  <a:pt x="1164" y="624"/>
                </a:lnTo>
                <a:lnTo>
                  <a:pt x="1170" y="624"/>
                </a:lnTo>
                <a:lnTo>
                  <a:pt x="1176" y="624"/>
                </a:lnTo>
                <a:lnTo>
                  <a:pt x="1176" y="630"/>
                </a:lnTo>
                <a:lnTo>
                  <a:pt x="1182" y="630"/>
                </a:lnTo>
                <a:lnTo>
                  <a:pt x="1188" y="636"/>
                </a:lnTo>
                <a:lnTo>
                  <a:pt x="1188" y="630"/>
                </a:lnTo>
                <a:lnTo>
                  <a:pt x="1194" y="630"/>
                </a:lnTo>
                <a:lnTo>
                  <a:pt x="1194" y="636"/>
                </a:lnTo>
                <a:lnTo>
                  <a:pt x="1194" y="642"/>
                </a:lnTo>
                <a:lnTo>
                  <a:pt x="1194" y="648"/>
                </a:lnTo>
                <a:lnTo>
                  <a:pt x="1194" y="654"/>
                </a:lnTo>
                <a:lnTo>
                  <a:pt x="1188" y="654"/>
                </a:lnTo>
                <a:lnTo>
                  <a:pt x="1194" y="660"/>
                </a:lnTo>
                <a:lnTo>
                  <a:pt x="1194" y="654"/>
                </a:lnTo>
                <a:lnTo>
                  <a:pt x="1200" y="654"/>
                </a:lnTo>
                <a:lnTo>
                  <a:pt x="1200" y="660"/>
                </a:lnTo>
                <a:lnTo>
                  <a:pt x="1200" y="666"/>
                </a:lnTo>
                <a:lnTo>
                  <a:pt x="1200" y="672"/>
                </a:lnTo>
                <a:lnTo>
                  <a:pt x="1206" y="672"/>
                </a:lnTo>
                <a:lnTo>
                  <a:pt x="1206" y="678"/>
                </a:lnTo>
                <a:lnTo>
                  <a:pt x="1212" y="678"/>
                </a:lnTo>
                <a:lnTo>
                  <a:pt x="1218" y="684"/>
                </a:lnTo>
                <a:lnTo>
                  <a:pt x="1218" y="690"/>
                </a:lnTo>
                <a:lnTo>
                  <a:pt x="1224" y="684"/>
                </a:lnTo>
                <a:lnTo>
                  <a:pt x="1224" y="690"/>
                </a:lnTo>
                <a:lnTo>
                  <a:pt x="1230" y="690"/>
                </a:lnTo>
                <a:lnTo>
                  <a:pt x="1230" y="696"/>
                </a:lnTo>
                <a:lnTo>
                  <a:pt x="1224" y="696"/>
                </a:lnTo>
                <a:lnTo>
                  <a:pt x="1218" y="696"/>
                </a:lnTo>
                <a:lnTo>
                  <a:pt x="1218" y="702"/>
                </a:lnTo>
                <a:lnTo>
                  <a:pt x="1218" y="708"/>
                </a:lnTo>
                <a:lnTo>
                  <a:pt x="1224" y="708"/>
                </a:lnTo>
                <a:lnTo>
                  <a:pt x="1224" y="714"/>
                </a:lnTo>
                <a:lnTo>
                  <a:pt x="1224" y="720"/>
                </a:lnTo>
                <a:lnTo>
                  <a:pt x="1218" y="720"/>
                </a:lnTo>
                <a:lnTo>
                  <a:pt x="1218" y="726"/>
                </a:lnTo>
                <a:lnTo>
                  <a:pt x="1218" y="732"/>
                </a:lnTo>
                <a:lnTo>
                  <a:pt x="1224" y="738"/>
                </a:lnTo>
                <a:lnTo>
                  <a:pt x="1218" y="738"/>
                </a:lnTo>
                <a:lnTo>
                  <a:pt x="1212" y="744"/>
                </a:lnTo>
                <a:lnTo>
                  <a:pt x="1212" y="738"/>
                </a:lnTo>
                <a:lnTo>
                  <a:pt x="1206" y="738"/>
                </a:lnTo>
                <a:lnTo>
                  <a:pt x="1206" y="732"/>
                </a:lnTo>
                <a:lnTo>
                  <a:pt x="1200" y="732"/>
                </a:lnTo>
                <a:lnTo>
                  <a:pt x="1194" y="732"/>
                </a:lnTo>
                <a:lnTo>
                  <a:pt x="1188" y="732"/>
                </a:lnTo>
                <a:lnTo>
                  <a:pt x="1182" y="738"/>
                </a:lnTo>
                <a:lnTo>
                  <a:pt x="1176" y="732"/>
                </a:lnTo>
                <a:lnTo>
                  <a:pt x="1170" y="732"/>
                </a:lnTo>
                <a:lnTo>
                  <a:pt x="1164" y="726"/>
                </a:lnTo>
                <a:lnTo>
                  <a:pt x="1158" y="726"/>
                </a:lnTo>
                <a:lnTo>
                  <a:pt x="1158" y="732"/>
                </a:lnTo>
                <a:lnTo>
                  <a:pt x="1158" y="738"/>
                </a:lnTo>
                <a:lnTo>
                  <a:pt x="1152" y="738"/>
                </a:lnTo>
                <a:lnTo>
                  <a:pt x="1152" y="744"/>
                </a:lnTo>
                <a:lnTo>
                  <a:pt x="1146" y="744"/>
                </a:lnTo>
                <a:lnTo>
                  <a:pt x="1146" y="750"/>
                </a:lnTo>
                <a:lnTo>
                  <a:pt x="1140" y="750"/>
                </a:lnTo>
                <a:lnTo>
                  <a:pt x="1140" y="756"/>
                </a:lnTo>
                <a:lnTo>
                  <a:pt x="1140" y="762"/>
                </a:lnTo>
                <a:lnTo>
                  <a:pt x="1140" y="768"/>
                </a:lnTo>
                <a:lnTo>
                  <a:pt x="1134" y="774"/>
                </a:lnTo>
                <a:lnTo>
                  <a:pt x="1134" y="780"/>
                </a:lnTo>
                <a:lnTo>
                  <a:pt x="1128" y="780"/>
                </a:lnTo>
                <a:lnTo>
                  <a:pt x="1122" y="780"/>
                </a:lnTo>
                <a:lnTo>
                  <a:pt x="1116" y="774"/>
                </a:lnTo>
                <a:lnTo>
                  <a:pt x="1110" y="774"/>
                </a:lnTo>
                <a:lnTo>
                  <a:pt x="1110" y="768"/>
                </a:lnTo>
                <a:lnTo>
                  <a:pt x="1104" y="768"/>
                </a:lnTo>
                <a:lnTo>
                  <a:pt x="1098" y="762"/>
                </a:lnTo>
                <a:lnTo>
                  <a:pt x="1092" y="762"/>
                </a:lnTo>
                <a:lnTo>
                  <a:pt x="1086" y="762"/>
                </a:lnTo>
                <a:lnTo>
                  <a:pt x="1080" y="768"/>
                </a:lnTo>
                <a:lnTo>
                  <a:pt x="1074" y="768"/>
                </a:lnTo>
                <a:lnTo>
                  <a:pt x="1068" y="768"/>
                </a:lnTo>
                <a:lnTo>
                  <a:pt x="1068" y="774"/>
                </a:lnTo>
                <a:lnTo>
                  <a:pt x="1062" y="774"/>
                </a:lnTo>
                <a:lnTo>
                  <a:pt x="1056" y="774"/>
                </a:lnTo>
                <a:lnTo>
                  <a:pt x="1056" y="780"/>
                </a:lnTo>
                <a:lnTo>
                  <a:pt x="1050" y="780"/>
                </a:lnTo>
                <a:lnTo>
                  <a:pt x="1050" y="786"/>
                </a:lnTo>
                <a:lnTo>
                  <a:pt x="1056" y="786"/>
                </a:lnTo>
                <a:lnTo>
                  <a:pt x="1056" y="792"/>
                </a:lnTo>
                <a:lnTo>
                  <a:pt x="1062" y="792"/>
                </a:lnTo>
                <a:lnTo>
                  <a:pt x="1074" y="798"/>
                </a:lnTo>
                <a:lnTo>
                  <a:pt x="1074" y="804"/>
                </a:lnTo>
                <a:lnTo>
                  <a:pt x="1080" y="804"/>
                </a:lnTo>
                <a:lnTo>
                  <a:pt x="1080" y="810"/>
                </a:lnTo>
                <a:lnTo>
                  <a:pt x="1080" y="816"/>
                </a:lnTo>
                <a:lnTo>
                  <a:pt x="1074" y="822"/>
                </a:lnTo>
                <a:lnTo>
                  <a:pt x="1068" y="822"/>
                </a:lnTo>
                <a:lnTo>
                  <a:pt x="1062" y="822"/>
                </a:lnTo>
                <a:lnTo>
                  <a:pt x="1056" y="822"/>
                </a:lnTo>
                <a:lnTo>
                  <a:pt x="1050" y="822"/>
                </a:lnTo>
                <a:lnTo>
                  <a:pt x="1050" y="828"/>
                </a:lnTo>
                <a:lnTo>
                  <a:pt x="1050" y="834"/>
                </a:lnTo>
                <a:lnTo>
                  <a:pt x="1044" y="834"/>
                </a:lnTo>
                <a:lnTo>
                  <a:pt x="1044" y="840"/>
                </a:lnTo>
                <a:lnTo>
                  <a:pt x="1038" y="840"/>
                </a:lnTo>
                <a:lnTo>
                  <a:pt x="1038" y="846"/>
                </a:lnTo>
                <a:lnTo>
                  <a:pt x="1038" y="852"/>
                </a:lnTo>
                <a:lnTo>
                  <a:pt x="1032" y="852"/>
                </a:lnTo>
                <a:lnTo>
                  <a:pt x="1032" y="858"/>
                </a:lnTo>
                <a:lnTo>
                  <a:pt x="1038" y="864"/>
                </a:lnTo>
                <a:lnTo>
                  <a:pt x="1038" y="870"/>
                </a:lnTo>
                <a:lnTo>
                  <a:pt x="1032" y="870"/>
                </a:lnTo>
                <a:lnTo>
                  <a:pt x="1026" y="870"/>
                </a:lnTo>
                <a:lnTo>
                  <a:pt x="1020" y="870"/>
                </a:lnTo>
                <a:lnTo>
                  <a:pt x="1014" y="876"/>
                </a:lnTo>
                <a:lnTo>
                  <a:pt x="1008" y="876"/>
                </a:lnTo>
                <a:lnTo>
                  <a:pt x="1008" y="882"/>
                </a:lnTo>
                <a:lnTo>
                  <a:pt x="1002" y="882"/>
                </a:lnTo>
                <a:lnTo>
                  <a:pt x="996" y="876"/>
                </a:lnTo>
                <a:lnTo>
                  <a:pt x="996" y="870"/>
                </a:lnTo>
                <a:lnTo>
                  <a:pt x="990" y="870"/>
                </a:lnTo>
                <a:lnTo>
                  <a:pt x="990" y="864"/>
                </a:lnTo>
                <a:lnTo>
                  <a:pt x="984" y="864"/>
                </a:lnTo>
                <a:lnTo>
                  <a:pt x="978" y="864"/>
                </a:lnTo>
                <a:lnTo>
                  <a:pt x="978" y="870"/>
                </a:lnTo>
                <a:lnTo>
                  <a:pt x="972" y="870"/>
                </a:lnTo>
                <a:lnTo>
                  <a:pt x="978" y="864"/>
                </a:lnTo>
                <a:lnTo>
                  <a:pt x="978" y="858"/>
                </a:lnTo>
                <a:lnTo>
                  <a:pt x="972" y="858"/>
                </a:lnTo>
                <a:lnTo>
                  <a:pt x="972" y="852"/>
                </a:lnTo>
                <a:lnTo>
                  <a:pt x="966" y="852"/>
                </a:lnTo>
                <a:lnTo>
                  <a:pt x="966" y="846"/>
                </a:lnTo>
                <a:lnTo>
                  <a:pt x="960" y="852"/>
                </a:lnTo>
                <a:lnTo>
                  <a:pt x="960" y="858"/>
                </a:lnTo>
                <a:lnTo>
                  <a:pt x="954" y="858"/>
                </a:lnTo>
                <a:lnTo>
                  <a:pt x="948" y="858"/>
                </a:lnTo>
                <a:lnTo>
                  <a:pt x="942" y="858"/>
                </a:lnTo>
                <a:lnTo>
                  <a:pt x="942" y="852"/>
                </a:lnTo>
                <a:lnTo>
                  <a:pt x="936" y="852"/>
                </a:lnTo>
                <a:lnTo>
                  <a:pt x="936" y="858"/>
                </a:lnTo>
                <a:lnTo>
                  <a:pt x="930" y="852"/>
                </a:lnTo>
                <a:lnTo>
                  <a:pt x="936" y="852"/>
                </a:lnTo>
                <a:lnTo>
                  <a:pt x="930" y="846"/>
                </a:lnTo>
                <a:lnTo>
                  <a:pt x="936" y="846"/>
                </a:lnTo>
                <a:lnTo>
                  <a:pt x="936" y="840"/>
                </a:lnTo>
                <a:lnTo>
                  <a:pt x="930" y="840"/>
                </a:lnTo>
                <a:lnTo>
                  <a:pt x="924" y="840"/>
                </a:lnTo>
                <a:lnTo>
                  <a:pt x="924" y="846"/>
                </a:lnTo>
                <a:lnTo>
                  <a:pt x="924" y="840"/>
                </a:lnTo>
                <a:lnTo>
                  <a:pt x="918" y="840"/>
                </a:lnTo>
                <a:lnTo>
                  <a:pt x="924" y="834"/>
                </a:lnTo>
                <a:lnTo>
                  <a:pt x="918" y="834"/>
                </a:lnTo>
                <a:lnTo>
                  <a:pt x="912" y="840"/>
                </a:lnTo>
                <a:lnTo>
                  <a:pt x="906" y="834"/>
                </a:lnTo>
                <a:lnTo>
                  <a:pt x="906" y="828"/>
                </a:lnTo>
                <a:lnTo>
                  <a:pt x="900" y="822"/>
                </a:lnTo>
                <a:lnTo>
                  <a:pt x="900" y="816"/>
                </a:lnTo>
                <a:lnTo>
                  <a:pt x="906" y="816"/>
                </a:lnTo>
                <a:lnTo>
                  <a:pt x="900" y="816"/>
                </a:lnTo>
                <a:lnTo>
                  <a:pt x="900" y="810"/>
                </a:lnTo>
                <a:lnTo>
                  <a:pt x="894" y="804"/>
                </a:lnTo>
                <a:lnTo>
                  <a:pt x="888" y="804"/>
                </a:lnTo>
                <a:lnTo>
                  <a:pt x="882" y="804"/>
                </a:lnTo>
                <a:lnTo>
                  <a:pt x="876" y="804"/>
                </a:lnTo>
                <a:lnTo>
                  <a:pt x="870" y="804"/>
                </a:lnTo>
                <a:lnTo>
                  <a:pt x="864" y="810"/>
                </a:lnTo>
                <a:lnTo>
                  <a:pt x="858" y="816"/>
                </a:lnTo>
                <a:lnTo>
                  <a:pt x="858" y="822"/>
                </a:lnTo>
                <a:lnTo>
                  <a:pt x="852" y="822"/>
                </a:lnTo>
                <a:lnTo>
                  <a:pt x="846" y="822"/>
                </a:lnTo>
                <a:lnTo>
                  <a:pt x="840" y="816"/>
                </a:lnTo>
                <a:lnTo>
                  <a:pt x="834" y="816"/>
                </a:lnTo>
                <a:lnTo>
                  <a:pt x="828" y="810"/>
                </a:lnTo>
                <a:lnTo>
                  <a:pt x="828" y="816"/>
                </a:lnTo>
                <a:lnTo>
                  <a:pt x="828" y="822"/>
                </a:lnTo>
                <a:lnTo>
                  <a:pt x="828" y="828"/>
                </a:lnTo>
                <a:lnTo>
                  <a:pt x="828" y="834"/>
                </a:lnTo>
                <a:lnTo>
                  <a:pt x="828" y="840"/>
                </a:lnTo>
                <a:lnTo>
                  <a:pt x="822" y="840"/>
                </a:lnTo>
                <a:lnTo>
                  <a:pt x="816" y="846"/>
                </a:lnTo>
                <a:lnTo>
                  <a:pt x="810" y="846"/>
                </a:lnTo>
                <a:lnTo>
                  <a:pt x="804" y="846"/>
                </a:lnTo>
                <a:lnTo>
                  <a:pt x="798" y="846"/>
                </a:lnTo>
                <a:lnTo>
                  <a:pt x="792" y="840"/>
                </a:lnTo>
                <a:lnTo>
                  <a:pt x="786" y="840"/>
                </a:lnTo>
                <a:lnTo>
                  <a:pt x="780" y="840"/>
                </a:lnTo>
                <a:lnTo>
                  <a:pt x="780" y="834"/>
                </a:lnTo>
                <a:lnTo>
                  <a:pt x="774" y="834"/>
                </a:lnTo>
                <a:lnTo>
                  <a:pt x="774" y="828"/>
                </a:lnTo>
                <a:lnTo>
                  <a:pt x="768" y="828"/>
                </a:lnTo>
                <a:lnTo>
                  <a:pt x="762" y="828"/>
                </a:lnTo>
                <a:lnTo>
                  <a:pt x="756" y="822"/>
                </a:lnTo>
                <a:lnTo>
                  <a:pt x="750" y="828"/>
                </a:lnTo>
                <a:lnTo>
                  <a:pt x="744" y="828"/>
                </a:lnTo>
                <a:lnTo>
                  <a:pt x="738" y="828"/>
                </a:lnTo>
                <a:lnTo>
                  <a:pt x="738" y="834"/>
                </a:lnTo>
                <a:lnTo>
                  <a:pt x="738" y="840"/>
                </a:lnTo>
                <a:lnTo>
                  <a:pt x="732" y="840"/>
                </a:lnTo>
                <a:lnTo>
                  <a:pt x="726" y="840"/>
                </a:lnTo>
                <a:lnTo>
                  <a:pt x="726" y="846"/>
                </a:lnTo>
                <a:lnTo>
                  <a:pt x="720" y="846"/>
                </a:lnTo>
                <a:lnTo>
                  <a:pt x="720" y="852"/>
                </a:lnTo>
                <a:lnTo>
                  <a:pt x="714" y="852"/>
                </a:lnTo>
                <a:lnTo>
                  <a:pt x="714" y="846"/>
                </a:lnTo>
                <a:lnTo>
                  <a:pt x="714" y="840"/>
                </a:lnTo>
                <a:lnTo>
                  <a:pt x="708" y="840"/>
                </a:lnTo>
                <a:lnTo>
                  <a:pt x="708" y="846"/>
                </a:lnTo>
                <a:lnTo>
                  <a:pt x="702" y="846"/>
                </a:lnTo>
                <a:lnTo>
                  <a:pt x="696" y="846"/>
                </a:lnTo>
                <a:lnTo>
                  <a:pt x="696" y="840"/>
                </a:lnTo>
                <a:lnTo>
                  <a:pt x="690" y="840"/>
                </a:lnTo>
                <a:lnTo>
                  <a:pt x="684" y="840"/>
                </a:lnTo>
                <a:lnTo>
                  <a:pt x="684" y="846"/>
                </a:lnTo>
                <a:lnTo>
                  <a:pt x="684" y="852"/>
                </a:lnTo>
                <a:lnTo>
                  <a:pt x="690" y="852"/>
                </a:lnTo>
                <a:lnTo>
                  <a:pt x="690" y="858"/>
                </a:lnTo>
                <a:lnTo>
                  <a:pt x="690" y="864"/>
                </a:lnTo>
                <a:lnTo>
                  <a:pt x="690" y="870"/>
                </a:lnTo>
                <a:lnTo>
                  <a:pt x="690" y="876"/>
                </a:lnTo>
                <a:lnTo>
                  <a:pt x="690" y="882"/>
                </a:lnTo>
                <a:lnTo>
                  <a:pt x="690" y="888"/>
                </a:lnTo>
                <a:lnTo>
                  <a:pt x="690" y="894"/>
                </a:lnTo>
                <a:lnTo>
                  <a:pt x="684" y="888"/>
                </a:lnTo>
                <a:lnTo>
                  <a:pt x="678" y="888"/>
                </a:lnTo>
                <a:lnTo>
                  <a:pt x="672" y="888"/>
                </a:lnTo>
                <a:lnTo>
                  <a:pt x="666" y="888"/>
                </a:lnTo>
                <a:lnTo>
                  <a:pt x="660" y="894"/>
                </a:lnTo>
                <a:lnTo>
                  <a:pt x="654" y="894"/>
                </a:lnTo>
                <a:lnTo>
                  <a:pt x="648" y="894"/>
                </a:lnTo>
                <a:lnTo>
                  <a:pt x="642" y="894"/>
                </a:lnTo>
                <a:lnTo>
                  <a:pt x="636" y="894"/>
                </a:lnTo>
                <a:lnTo>
                  <a:pt x="636" y="900"/>
                </a:lnTo>
                <a:lnTo>
                  <a:pt x="630" y="900"/>
                </a:lnTo>
                <a:lnTo>
                  <a:pt x="624" y="906"/>
                </a:lnTo>
                <a:lnTo>
                  <a:pt x="624" y="912"/>
                </a:lnTo>
                <a:lnTo>
                  <a:pt x="618" y="912"/>
                </a:lnTo>
                <a:lnTo>
                  <a:pt x="618" y="918"/>
                </a:lnTo>
                <a:lnTo>
                  <a:pt x="618" y="924"/>
                </a:lnTo>
                <a:lnTo>
                  <a:pt x="618" y="930"/>
                </a:lnTo>
                <a:lnTo>
                  <a:pt x="612" y="930"/>
                </a:lnTo>
                <a:lnTo>
                  <a:pt x="612" y="936"/>
                </a:lnTo>
                <a:lnTo>
                  <a:pt x="600" y="930"/>
                </a:lnTo>
                <a:lnTo>
                  <a:pt x="600" y="936"/>
                </a:lnTo>
                <a:lnTo>
                  <a:pt x="600" y="942"/>
                </a:lnTo>
                <a:lnTo>
                  <a:pt x="600" y="954"/>
                </a:lnTo>
                <a:lnTo>
                  <a:pt x="600" y="960"/>
                </a:lnTo>
                <a:lnTo>
                  <a:pt x="594" y="966"/>
                </a:lnTo>
                <a:lnTo>
                  <a:pt x="594" y="972"/>
                </a:lnTo>
                <a:lnTo>
                  <a:pt x="594" y="978"/>
                </a:lnTo>
                <a:lnTo>
                  <a:pt x="588" y="984"/>
                </a:lnTo>
                <a:lnTo>
                  <a:pt x="588" y="990"/>
                </a:lnTo>
                <a:lnTo>
                  <a:pt x="588" y="996"/>
                </a:lnTo>
                <a:lnTo>
                  <a:pt x="588" y="1002"/>
                </a:lnTo>
                <a:lnTo>
                  <a:pt x="588" y="1008"/>
                </a:lnTo>
                <a:lnTo>
                  <a:pt x="594" y="1014"/>
                </a:lnTo>
                <a:lnTo>
                  <a:pt x="594" y="1020"/>
                </a:lnTo>
                <a:lnTo>
                  <a:pt x="588" y="1020"/>
                </a:lnTo>
                <a:lnTo>
                  <a:pt x="588" y="1026"/>
                </a:lnTo>
                <a:lnTo>
                  <a:pt x="594" y="1026"/>
                </a:lnTo>
                <a:lnTo>
                  <a:pt x="594" y="1032"/>
                </a:lnTo>
                <a:lnTo>
                  <a:pt x="594" y="1038"/>
                </a:lnTo>
                <a:lnTo>
                  <a:pt x="588" y="1038"/>
                </a:lnTo>
                <a:lnTo>
                  <a:pt x="582" y="1038"/>
                </a:lnTo>
                <a:lnTo>
                  <a:pt x="576" y="1038"/>
                </a:lnTo>
                <a:lnTo>
                  <a:pt x="576" y="1032"/>
                </a:lnTo>
                <a:lnTo>
                  <a:pt x="570" y="1032"/>
                </a:lnTo>
                <a:lnTo>
                  <a:pt x="564" y="1032"/>
                </a:lnTo>
                <a:lnTo>
                  <a:pt x="564" y="1026"/>
                </a:lnTo>
                <a:lnTo>
                  <a:pt x="558" y="1026"/>
                </a:lnTo>
                <a:lnTo>
                  <a:pt x="552" y="1026"/>
                </a:lnTo>
                <a:lnTo>
                  <a:pt x="546" y="1020"/>
                </a:lnTo>
                <a:lnTo>
                  <a:pt x="546" y="1014"/>
                </a:lnTo>
                <a:lnTo>
                  <a:pt x="546" y="1008"/>
                </a:lnTo>
                <a:lnTo>
                  <a:pt x="540" y="1008"/>
                </a:lnTo>
                <a:lnTo>
                  <a:pt x="534" y="1008"/>
                </a:lnTo>
                <a:lnTo>
                  <a:pt x="528" y="1008"/>
                </a:lnTo>
                <a:lnTo>
                  <a:pt x="522" y="1008"/>
                </a:lnTo>
                <a:lnTo>
                  <a:pt x="510" y="1002"/>
                </a:lnTo>
                <a:lnTo>
                  <a:pt x="504" y="1002"/>
                </a:lnTo>
                <a:lnTo>
                  <a:pt x="498" y="1002"/>
                </a:lnTo>
                <a:lnTo>
                  <a:pt x="498" y="1008"/>
                </a:lnTo>
                <a:lnTo>
                  <a:pt x="492" y="1008"/>
                </a:lnTo>
                <a:lnTo>
                  <a:pt x="492" y="1014"/>
                </a:lnTo>
                <a:lnTo>
                  <a:pt x="492" y="1020"/>
                </a:lnTo>
                <a:lnTo>
                  <a:pt x="492" y="1026"/>
                </a:lnTo>
                <a:lnTo>
                  <a:pt x="486" y="1026"/>
                </a:lnTo>
                <a:lnTo>
                  <a:pt x="486" y="1032"/>
                </a:lnTo>
                <a:lnTo>
                  <a:pt x="480" y="1032"/>
                </a:lnTo>
                <a:lnTo>
                  <a:pt x="480" y="1038"/>
                </a:lnTo>
                <a:lnTo>
                  <a:pt x="474" y="1038"/>
                </a:lnTo>
                <a:lnTo>
                  <a:pt x="468" y="1038"/>
                </a:lnTo>
                <a:lnTo>
                  <a:pt x="462" y="1038"/>
                </a:lnTo>
                <a:lnTo>
                  <a:pt x="456" y="1038"/>
                </a:lnTo>
                <a:lnTo>
                  <a:pt x="450" y="1038"/>
                </a:lnTo>
                <a:lnTo>
                  <a:pt x="444" y="1038"/>
                </a:lnTo>
                <a:lnTo>
                  <a:pt x="438" y="1038"/>
                </a:lnTo>
                <a:lnTo>
                  <a:pt x="432" y="1044"/>
                </a:lnTo>
                <a:lnTo>
                  <a:pt x="432" y="1038"/>
                </a:lnTo>
                <a:lnTo>
                  <a:pt x="426" y="1038"/>
                </a:lnTo>
                <a:lnTo>
                  <a:pt x="420" y="1038"/>
                </a:lnTo>
                <a:lnTo>
                  <a:pt x="420" y="1032"/>
                </a:lnTo>
                <a:lnTo>
                  <a:pt x="420" y="1026"/>
                </a:lnTo>
                <a:lnTo>
                  <a:pt x="420" y="1020"/>
                </a:lnTo>
                <a:lnTo>
                  <a:pt x="426" y="1020"/>
                </a:lnTo>
                <a:lnTo>
                  <a:pt x="426" y="1014"/>
                </a:lnTo>
                <a:lnTo>
                  <a:pt x="426" y="1008"/>
                </a:lnTo>
                <a:lnTo>
                  <a:pt x="426" y="1002"/>
                </a:lnTo>
                <a:lnTo>
                  <a:pt x="426" y="996"/>
                </a:lnTo>
                <a:lnTo>
                  <a:pt x="432" y="990"/>
                </a:lnTo>
                <a:lnTo>
                  <a:pt x="432" y="984"/>
                </a:lnTo>
                <a:lnTo>
                  <a:pt x="438" y="984"/>
                </a:lnTo>
                <a:lnTo>
                  <a:pt x="444" y="978"/>
                </a:lnTo>
                <a:lnTo>
                  <a:pt x="444" y="972"/>
                </a:lnTo>
                <a:lnTo>
                  <a:pt x="438" y="972"/>
                </a:lnTo>
                <a:lnTo>
                  <a:pt x="438" y="966"/>
                </a:lnTo>
                <a:lnTo>
                  <a:pt x="432" y="966"/>
                </a:lnTo>
                <a:lnTo>
                  <a:pt x="426" y="966"/>
                </a:lnTo>
                <a:lnTo>
                  <a:pt x="426" y="960"/>
                </a:lnTo>
                <a:lnTo>
                  <a:pt x="426" y="954"/>
                </a:lnTo>
                <a:lnTo>
                  <a:pt x="432" y="948"/>
                </a:lnTo>
                <a:lnTo>
                  <a:pt x="426" y="942"/>
                </a:lnTo>
                <a:lnTo>
                  <a:pt x="426" y="930"/>
                </a:lnTo>
                <a:lnTo>
                  <a:pt x="426" y="924"/>
                </a:lnTo>
                <a:lnTo>
                  <a:pt x="426" y="918"/>
                </a:lnTo>
                <a:lnTo>
                  <a:pt x="426" y="912"/>
                </a:lnTo>
                <a:lnTo>
                  <a:pt x="420" y="906"/>
                </a:lnTo>
                <a:lnTo>
                  <a:pt x="414" y="900"/>
                </a:lnTo>
                <a:lnTo>
                  <a:pt x="414" y="888"/>
                </a:lnTo>
                <a:lnTo>
                  <a:pt x="414" y="882"/>
                </a:lnTo>
                <a:lnTo>
                  <a:pt x="414" y="876"/>
                </a:lnTo>
                <a:lnTo>
                  <a:pt x="408" y="876"/>
                </a:lnTo>
                <a:lnTo>
                  <a:pt x="402" y="876"/>
                </a:lnTo>
                <a:lnTo>
                  <a:pt x="396" y="876"/>
                </a:lnTo>
                <a:lnTo>
                  <a:pt x="390" y="882"/>
                </a:lnTo>
                <a:lnTo>
                  <a:pt x="390" y="888"/>
                </a:lnTo>
                <a:lnTo>
                  <a:pt x="390" y="894"/>
                </a:lnTo>
                <a:lnTo>
                  <a:pt x="384" y="900"/>
                </a:lnTo>
                <a:lnTo>
                  <a:pt x="378" y="900"/>
                </a:lnTo>
                <a:lnTo>
                  <a:pt x="372" y="894"/>
                </a:lnTo>
                <a:lnTo>
                  <a:pt x="372" y="888"/>
                </a:lnTo>
                <a:lnTo>
                  <a:pt x="360" y="888"/>
                </a:lnTo>
                <a:lnTo>
                  <a:pt x="348" y="888"/>
                </a:lnTo>
                <a:lnTo>
                  <a:pt x="336" y="888"/>
                </a:lnTo>
                <a:lnTo>
                  <a:pt x="336" y="882"/>
                </a:lnTo>
                <a:lnTo>
                  <a:pt x="336" y="876"/>
                </a:lnTo>
                <a:lnTo>
                  <a:pt x="336" y="870"/>
                </a:lnTo>
                <a:lnTo>
                  <a:pt x="336" y="864"/>
                </a:lnTo>
                <a:lnTo>
                  <a:pt x="336" y="858"/>
                </a:lnTo>
                <a:lnTo>
                  <a:pt x="336" y="852"/>
                </a:lnTo>
                <a:lnTo>
                  <a:pt x="330" y="852"/>
                </a:lnTo>
                <a:lnTo>
                  <a:pt x="330" y="858"/>
                </a:lnTo>
                <a:lnTo>
                  <a:pt x="324" y="858"/>
                </a:lnTo>
                <a:lnTo>
                  <a:pt x="318" y="858"/>
                </a:lnTo>
                <a:lnTo>
                  <a:pt x="312" y="858"/>
                </a:lnTo>
                <a:lnTo>
                  <a:pt x="306" y="858"/>
                </a:lnTo>
                <a:lnTo>
                  <a:pt x="300" y="852"/>
                </a:lnTo>
                <a:lnTo>
                  <a:pt x="294" y="846"/>
                </a:lnTo>
                <a:lnTo>
                  <a:pt x="294" y="840"/>
                </a:lnTo>
                <a:lnTo>
                  <a:pt x="288" y="834"/>
                </a:lnTo>
                <a:lnTo>
                  <a:pt x="288" y="828"/>
                </a:lnTo>
                <a:lnTo>
                  <a:pt x="282" y="822"/>
                </a:lnTo>
                <a:lnTo>
                  <a:pt x="282" y="816"/>
                </a:lnTo>
                <a:lnTo>
                  <a:pt x="276" y="810"/>
                </a:lnTo>
                <a:lnTo>
                  <a:pt x="276" y="804"/>
                </a:lnTo>
                <a:lnTo>
                  <a:pt x="270" y="804"/>
                </a:lnTo>
                <a:lnTo>
                  <a:pt x="270" y="798"/>
                </a:lnTo>
                <a:lnTo>
                  <a:pt x="270" y="792"/>
                </a:lnTo>
                <a:lnTo>
                  <a:pt x="264" y="792"/>
                </a:lnTo>
                <a:lnTo>
                  <a:pt x="264" y="786"/>
                </a:lnTo>
                <a:lnTo>
                  <a:pt x="264" y="780"/>
                </a:lnTo>
                <a:lnTo>
                  <a:pt x="264" y="774"/>
                </a:lnTo>
                <a:lnTo>
                  <a:pt x="264" y="768"/>
                </a:lnTo>
                <a:lnTo>
                  <a:pt x="258" y="768"/>
                </a:lnTo>
                <a:lnTo>
                  <a:pt x="252" y="762"/>
                </a:lnTo>
                <a:lnTo>
                  <a:pt x="246" y="762"/>
                </a:lnTo>
                <a:lnTo>
                  <a:pt x="240" y="762"/>
                </a:lnTo>
                <a:lnTo>
                  <a:pt x="234" y="762"/>
                </a:lnTo>
                <a:lnTo>
                  <a:pt x="234" y="756"/>
                </a:lnTo>
                <a:lnTo>
                  <a:pt x="234" y="750"/>
                </a:lnTo>
                <a:lnTo>
                  <a:pt x="234" y="744"/>
                </a:lnTo>
                <a:lnTo>
                  <a:pt x="240" y="732"/>
                </a:lnTo>
                <a:lnTo>
                  <a:pt x="240" y="726"/>
                </a:lnTo>
                <a:lnTo>
                  <a:pt x="240" y="720"/>
                </a:lnTo>
                <a:lnTo>
                  <a:pt x="234" y="720"/>
                </a:lnTo>
                <a:lnTo>
                  <a:pt x="234" y="714"/>
                </a:lnTo>
                <a:lnTo>
                  <a:pt x="228" y="714"/>
                </a:lnTo>
                <a:lnTo>
                  <a:pt x="228" y="708"/>
                </a:lnTo>
                <a:lnTo>
                  <a:pt x="234" y="708"/>
                </a:lnTo>
                <a:lnTo>
                  <a:pt x="234" y="702"/>
                </a:lnTo>
                <a:lnTo>
                  <a:pt x="234" y="696"/>
                </a:lnTo>
                <a:lnTo>
                  <a:pt x="228" y="696"/>
                </a:lnTo>
                <a:lnTo>
                  <a:pt x="228" y="690"/>
                </a:lnTo>
                <a:lnTo>
                  <a:pt x="222" y="690"/>
                </a:lnTo>
                <a:lnTo>
                  <a:pt x="222" y="684"/>
                </a:lnTo>
                <a:lnTo>
                  <a:pt x="216" y="684"/>
                </a:lnTo>
                <a:lnTo>
                  <a:pt x="210" y="690"/>
                </a:lnTo>
                <a:lnTo>
                  <a:pt x="204" y="690"/>
                </a:lnTo>
                <a:lnTo>
                  <a:pt x="204" y="696"/>
                </a:lnTo>
                <a:lnTo>
                  <a:pt x="198" y="696"/>
                </a:lnTo>
                <a:lnTo>
                  <a:pt x="198" y="690"/>
                </a:lnTo>
                <a:lnTo>
                  <a:pt x="192" y="690"/>
                </a:lnTo>
                <a:lnTo>
                  <a:pt x="192" y="696"/>
                </a:lnTo>
                <a:lnTo>
                  <a:pt x="186" y="696"/>
                </a:lnTo>
                <a:lnTo>
                  <a:pt x="186" y="690"/>
                </a:lnTo>
                <a:lnTo>
                  <a:pt x="186" y="684"/>
                </a:lnTo>
                <a:lnTo>
                  <a:pt x="180" y="684"/>
                </a:lnTo>
                <a:lnTo>
                  <a:pt x="180" y="678"/>
                </a:lnTo>
                <a:lnTo>
                  <a:pt x="186" y="678"/>
                </a:lnTo>
                <a:lnTo>
                  <a:pt x="186" y="672"/>
                </a:lnTo>
                <a:lnTo>
                  <a:pt x="186" y="666"/>
                </a:lnTo>
                <a:lnTo>
                  <a:pt x="192" y="666"/>
                </a:lnTo>
                <a:lnTo>
                  <a:pt x="198" y="666"/>
                </a:lnTo>
                <a:lnTo>
                  <a:pt x="198" y="660"/>
                </a:lnTo>
                <a:lnTo>
                  <a:pt x="204" y="654"/>
                </a:lnTo>
                <a:lnTo>
                  <a:pt x="204" y="648"/>
                </a:lnTo>
                <a:lnTo>
                  <a:pt x="210" y="648"/>
                </a:lnTo>
                <a:lnTo>
                  <a:pt x="210" y="642"/>
                </a:lnTo>
                <a:lnTo>
                  <a:pt x="210" y="648"/>
                </a:lnTo>
                <a:lnTo>
                  <a:pt x="210" y="642"/>
                </a:lnTo>
                <a:lnTo>
                  <a:pt x="210" y="636"/>
                </a:lnTo>
                <a:lnTo>
                  <a:pt x="210" y="630"/>
                </a:lnTo>
                <a:lnTo>
                  <a:pt x="204" y="630"/>
                </a:lnTo>
                <a:lnTo>
                  <a:pt x="204" y="624"/>
                </a:lnTo>
                <a:lnTo>
                  <a:pt x="198" y="624"/>
                </a:lnTo>
                <a:lnTo>
                  <a:pt x="198" y="618"/>
                </a:lnTo>
                <a:lnTo>
                  <a:pt x="192" y="618"/>
                </a:lnTo>
                <a:lnTo>
                  <a:pt x="192" y="612"/>
                </a:lnTo>
                <a:lnTo>
                  <a:pt x="192" y="618"/>
                </a:lnTo>
                <a:lnTo>
                  <a:pt x="192" y="624"/>
                </a:lnTo>
                <a:lnTo>
                  <a:pt x="186" y="624"/>
                </a:lnTo>
                <a:lnTo>
                  <a:pt x="180" y="624"/>
                </a:lnTo>
                <a:lnTo>
                  <a:pt x="180" y="618"/>
                </a:lnTo>
                <a:lnTo>
                  <a:pt x="174" y="624"/>
                </a:lnTo>
                <a:lnTo>
                  <a:pt x="174" y="618"/>
                </a:lnTo>
                <a:lnTo>
                  <a:pt x="168" y="618"/>
                </a:lnTo>
                <a:lnTo>
                  <a:pt x="162" y="618"/>
                </a:lnTo>
                <a:lnTo>
                  <a:pt x="162" y="624"/>
                </a:lnTo>
                <a:lnTo>
                  <a:pt x="156" y="624"/>
                </a:lnTo>
                <a:lnTo>
                  <a:pt x="156" y="618"/>
                </a:lnTo>
                <a:lnTo>
                  <a:pt x="156" y="624"/>
                </a:lnTo>
                <a:lnTo>
                  <a:pt x="150" y="624"/>
                </a:lnTo>
                <a:lnTo>
                  <a:pt x="150" y="618"/>
                </a:lnTo>
                <a:lnTo>
                  <a:pt x="144" y="618"/>
                </a:lnTo>
                <a:lnTo>
                  <a:pt x="138" y="618"/>
                </a:lnTo>
                <a:lnTo>
                  <a:pt x="132" y="618"/>
                </a:lnTo>
                <a:lnTo>
                  <a:pt x="132" y="612"/>
                </a:lnTo>
                <a:lnTo>
                  <a:pt x="132" y="606"/>
                </a:lnTo>
                <a:lnTo>
                  <a:pt x="126" y="606"/>
                </a:lnTo>
                <a:lnTo>
                  <a:pt x="126" y="600"/>
                </a:lnTo>
                <a:lnTo>
                  <a:pt x="120" y="600"/>
                </a:lnTo>
                <a:lnTo>
                  <a:pt x="120" y="594"/>
                </a:lnTo>
                <a:lnTo>
                  <a:pt x="120" y="588"/>
                </a:lnTo>
                <a:lnTo>
                  <a:pt x="114" y="588"/>
                </a:lnTo>
                <a:lnTo>
                  <a:pt x="114" y="582"/>
                </a:lnTo>
                <a:lnTo>
                  <a:pt x="114" y="576"/>
                </a:lnTo>
                <a:lnTo>
                  <a:pt x="114" y="570"/>
                </a:lnTo>
                <a:lnTo>
                  <a:pt x="114" y="564"/>
                </a:lnTo>
                <a:lnTo>
                  <a:pt x="114" y="570"/>
                </a:lnTo>
                <a:lnTo>
                  <a:pt x="114" y="564"/>
                </a:lnTo>
                <a:lnTo>
                  <a:pt x="108" y="564"/>
                </a:lnTo>
                <a:lnTo>
                  <a:pt x="102" y="564"/>
                </a:lnTo>
                <a:lnTo>
                  <a:pt x="102" y="558"/>
                </a:lnTo>
                <a:lnTo>
                  <a:pt x="96" y="558"/>
                </a:lnTo>
                <a:lnTo>
                  <a:pt x="90" y="558"/>
                </a:lnTo>
                <a:lnTo>
                  <a:pt x="84" y="558"/>
                </a:lnTo>
                <a:lnTo>
                  <a:pt x="84" y="564"/>
                </a:lnTo>
                <a:lnTo>
                  <a:pt x="78" y="564"/>
                </a:lnTo>
                <a:lnTo>
                  <a:pt x="78" y="558"/>
                </a:lnTo>
                <a:lnTo>
                  <a:pt x="72" y="558"/>
                </a:lnTo>
                <a:lnTo>
                  <a:pt x="66" y="558"/>
                </a:lnTo>
                <a:lnTo>
                  <a:pt x="60" y="558"/>
                </a:lnTo>
                <a:lnTo>
                  <a:pt x="60" y="564"/>
                </a:lnTo>
                <a:lnTo>
                  <a:pt x="66" y="564"/>
                </a:lnTo>
                <a:lnTo>
                  <a:pt x="66" y="570"/>
                </a:lnTo>
                <a:lnTo>
                  <a:pt x="60" y="570"/>
                </a:lnTo>
                <a:lnTo>
                  <a:pt x="54" y="570"/>
                </a:lnTo>
                <a:lnTo>
                  <a:pt x="48" y="570"/>
                </a:lnTo>
                <a:lnTo>
                  <a:pt x="48" y="564"/>
                </a:lnTo>
                <a:lnTo>
                  <a:pt x="48" y="558"/>
                </a:lnTo>
                <a:lnTo>
                  <a:pt x="54" y="552"/>
                </a:lnTo>
                <a:lnTo>
                  <a:pt x="60" y="552"/>
                </a:lnTo>
                <a:lnTo>
                  <a:pt x="60" y="546"/>
                </a:lnTo>
                <a:lnTo>
                  <a:pt x="60" y="540"/>
                </a:lnTo>
                <a:lnTo>
                  <a:pt x="66" y="540"/>
                </a:lnTo>
                <a:lnTo>
                  <a:pt x="60" y="540"/>
                </a:lnTo>
                <a:lnTo>
                  <a:pt x="60" y="534"/>
                </a:lnTo>
                <a:lnTo>
                  <a:pt x="60" y="528"/>
                </a:lnTo>
                <a:lnTo>
                  <a:pt x="60" y="522"/>
                </a:lnTo>
                <a:lnTo>
                  <a:pt x="54" y="522"/>
                </a:lnTo>
                <a:lnTo>
                  <a:pt x="54" y="516"/>
                </a:lnTo>
                <a:lnTo>
                  <a:pt x="54" y="510"/>
                </a:lnTo>
                <a:lnTo>
                  <a:pt x="54" y="504"/>
                </a:lnTo>
                <a:lnTo>
                  <a:pt x="54" y="498"/>
                </a:lnTo>
                <a:lnTo>
                  <a:pt x="48" y="498"/>
                </a:lnTo>
                <a:lnTo>
                  <a:pt x="42" y="498"/>
                </a:lnTo>
                <a:lnTo>
                  <a:pt x="42" y="504"/>
                </a:lnTo>
                <a:lnTo>
                  <a:pt x="36" y="504"/>
                </a:lnTo>
                <a:lnTo>
                  <a:pt x="30" y="510"/>
                </a:lnTo>
                <a:lnTo>
                  <a:pt x="30" y="504"/>
                </a:lnTo>
                <a:lnTo>
                  <a:pt x="30" y="510"/>
                </a:lnTo>
                <a:lnTo>
                  <a:pt x="24" y="510"/>
                </a:lnTo>
                <a:lnTo>
                  <a:pt x="18" y="510"/>
                </a:lnTo>
                <a:lnTo>
                  <a:pt x="18" y="504"/>
                </a:lnTo>
                <a:lnTo>
                  <a:pt x="12" y="504"/>
                </a:lnTo>
                <a:lnTo>
                  <a:pt x="12" y="510"/>
                </a:lnTo>
                <a:lnTo>
                  <a:pt x="6" y="504"/>
                </a:lnTo>
                <a:lnTo>
                  <a:pt x="6" y="498"/>
                </a:lnTo>
                <a:lnTo>
                  <a:pt x="0" y="498"/>
                </a:lnTo>
                <a:lnTo>
                  <a:pt x="0" y="504"/>
                </a:lnTo>
                <a:lnTo>
                  <a:pt x="0" y="498"/>
                </a:lnTo>
                <a:lnTo>
                  <a:pt x="6" y="498"/>
                </a:lnTo>
                <a:lnTo>
                  <a:pt x="12" y="498"/>
                </a:lnTo>
                <a:lnTo>
                  <a:pt x="12" y="492"/>
                </a:lnTo>
                <a:lnTo>
                  <a:pt x="18" y="492"/>
                </a:lnTo>
                <a:lnTo>
                  <a:pt x="18" y="486"/>
                </a:lnTo>
                <a:lnTo>
                  <a:pt x="12" y="486"/>
                </a:lnTo>
                <a:lnTo>
                  <a:pt x="12" y="480"/>
                </a:lnTo>
                <a:lnTo>
                  <a:pt x="12" y="474"/>
                </a:lnTo>
                <a:lnTo>
                  <a:pt x="18" y="474"/>
                </a:lnTo>
                <a:lnTo>
                  <a:pt x="18" y="468"/>
                </a:lnTo>
                <a:lnTo>
                  <a:pt x="12" y="468"/>
                </a:lnTo>
                <a:lnTo>
                  <a:pt x="12" y="462"/>
                </a:lnTo>
                <a:lnTo>
                  <a:pt x="12" y="456"/>
                </a:lnTo>
                <a:lnTo>
                  <a:pt x="12" y="462"/>
                </a:lnTo>
                <a:lnTo>
                  <a:pt x="12" y="456"/>
                </a:lnTo>
                <a:lnTo>
                  <a:pt x="18" y="456"/>
                </a:lnTo>
                <a:lnTo>
                  <a:pt x="18" y="450"/>
                </a:lnTo>
                <a:lnTo>
                  <a:pt x="18" y="444"/>
                </a:lnTo>
                <a:lnTo>
                  <a:pt x="24" y="444"/>
                </a:lnTo>
                <a:lnTo>
                  <a:pt x="24" y="438"/>
                </a:lnTo>
                <a:lnTo>
                  <a:pt x="18" y="438"/>
                </a:lnTo>
                <a:lnTo>
                  <a:pt x="18" y="432"/>
                </a:lnTo>
                <a:lnTo>
                  <a:pt x="18" y="438"/>
                </a:lnTo>
                <a:lnTo>
                  <a:pt x="24" y="438"/>
                </a:lnTo>
                <a:lnTo>
                  <a:pt x="24" y="432"/>
                </a:lnTo>
                <a:lnTo>
                  <a:pt x="24" y="426"/>
                </a:lnTo>
                <a:lnTo>
                  <a:pt x="30" y="426"/>
                </a:lnTo>
                <a:lnTo>
                  <a:pt x="24" y="426"/>
                </a:lnTo>
                <a:lnTo>
                  <a:pt x="24" y="420"/>
                </a:lnTo>
                <a:lnTo>
                  <a:pt x="30" y="420"/>
                </a:lnTo>
                <a:lnTo>
                  <a:pt x="36" y="420"/>
                </a:lnTo>
                <a:lnTo>
                  <a:pt x="36" y="414"/>
                </a:lnTo>
                <a:lnTo>
                  <a:pt x="30" y="414"/>
                </a:lnTo>
                <a:lnTo>
                  <a:pt x="36" y="414"/>
                </a:lnTo>
                <a:lnTo>
                  <a:pt x="42" y="414"/>
                </a:lnTo>
                <a:lnTo>
                  <a:pt x="42" y="408"/>
                </a:lnTo>
                <a:lnTo>
                  <a:pt x="48" y="408"/>
                </a:lnTo>
                <a:lnTo>
                  <a:pt x="54" y="408"/>
                </a:lnTo>
                <a:lnTo>
                  <a:pt x="60" y="408"/>
                </a:lnTo>
                <a:lnTo>
                  <a:pt x="60" y="414"/>
                </a:lnTo>
                <a:lnTo>
                  <a:pt x="60" y="408"/>
                </a:lnTo>
                <a:lnTo>
                  <a:pt x="60" y="402"/>
                </a:lnTo>
                <a:lnTo>
                  <a:pt x="66" y="402"/>
                </a:lnTo>
                <a:lnTo>
                  <a:pt x="66" y="408"/>
                </a:lnTo>
                <a:lnTo>
                  <a:pt x="66" y="402"/>
                </a:lnTo>
                <a:lnTo>
                  <a:pt x="60" y="402"/>
                </a:lnTo>
                <a:lnTo>
                  <a:pt x="54" y="402"/>
                </a:lnTo>
                <a:lnTo>
                  <a:pt x="54" y="396"/>
                </a:lnTo>
                <a:lnTo>
                  <a:pt x="54" y="390"/>
                </a:lnTo>
                <a:lnTo>
                  <a:pt x="54" y="384"/>
                </a:lnTo>
                <a:lnTo>
                  <a:pt x="54" y="378"/>
                </a:lnTo>
                <a:lnTo>
                  <a:pt x="60" y="378"/>
                </a:lnTo>
                <a:lnTo>
                  <a:pt x="60" y="372"/>
                </a:lnTo>
                <a:lnTo>
                  <a:pt x="60" y="366"/>
                </a:lnTo>
                <a:lnTo>
                  <a:pt x="66" y="366"/>
                </a:lnTo>
                <a:lnTo>
                  <a:pt x="66" y="360"/>
                </a:lnTo>
                <a:lnTo>
                  <a:pt x="66" y="354"/>
                </a:lnTo>
                <a:lnTo>
                  <a:pt x="66" y="348"/>
                </a:lnTo>
                <a:lnTo>
                  <a:pt x="72" y="348"/>
                </a:lnTo>
                <a:lnTo>
                  <a:pt x="72" y="354"/>
                </a:lnTo>
                <a:lnTo>
                  <a:pt x="72" y="360"/>
                </a:lnTo>
                <a:lnTo>
                  <a:pt x="78" y="360"/>
                </a:lnTo>
                <a:lnTo>
                  <a:pt x="84" y="360"/>
                </a:lnTo>
                <a:lnTo>
                  <a:pt x="84" y="354"/>
                </a:lnTo>
                <a:lnTo>
                  <a:pt x="78" y="348"/>
                </a:lnTo>
                <a:lnTo>
                  <a:pt x="84" y="348"/>
                </a:lnTo>
                <a:lnTo>
                  <a:pt x="78" y="348"/>
                </a:lnTo>
                <a:lnTo>
                  <a:pt x="78" y="342"/>
                </a:lnTo>
                <a:lnTo>
                  <a:pt x="84" y="342"/>
                </a:lnTo>
                <a:lnTo>
                  <a:pt x="90" y="342"/>
                </a:lnTo>
                <a:lnTo>
                  <a:pt x="96" y="342"/>
                </a:lnTo>
                <a:lnTo>
                  <a:pt x="96" y="336"/>
                </a:lnTo>
                <a:lnTo>
                  <a:pt x="102" y="336"/>
                </a:lnTo>
                <a:lnTo>
                  <a:pt x="108" y="336"/>
                </a:lnTo>
                <a:lnTo>
                  <a:pt x="114" y="330"/>
                </a:lnTo>
                <a:lnTo>
                  <a:pt x="120" y="330"/>
                </a:lnTo>
                <a:lnTo>
                  <a:pt x="120" y="324"/>
                </a:lnTo>
                <a:lnTo>
                  <a:pt x="114" y="324"/>
                </a:lnTo>
                <a:lnTo>
                  <a:pt x="114" y="318"/>
                </a:lnTo>
                <a:lnTo>
                  <a:pt x="114" y="312"/>
                </a:lnTo>
                <a:lnTo>
                  <a:pt x="120" y="318"/>
                </a:lnTo>
                <a:lnTo>
                  <a:pt x="120" y="312"/>
                </a:lnTo>
                <a:lnTo>
                  <a:pt x="120" y="306"/>
                </a:lnTo>
                <a:lnTo>
                  <a:pt x="120" y="312"/>
                </a:lnTo>
                <a:lnTo>
                  <a:pt x="114" y="312"/>
                </a:lnTo>
                <a:lnTo>
                  <a:pt x="108" y="312"/>
                </a:lnTo>
                <a:lnTo>
                  <a:pt x="108" y="306"/>
                </a:lnTo>
                <a:lnTo>
                  <a:pt x="108" y="300"/>
                </a:lnTo>
                <a:lnTo>
                  <a:pt x="114" y="300"/>
                </a:lnTo>
                <a:lnTo>
                  <a:pt x="120" y="300"/>
                </a:lnTo>
                <a:lnTo>
                  <a:pt x="126" y="300"/>
                </a:lnTo>
                <a:lnTo>
                  <a:pt x="126" y="294"/>
                </a:lnTo>
                <a:lnTo>
                  <a:pt x="126" y="288"/>
                </a:lnTo>
                <a:lnTo>
                  <a:pt x="132" y="288"/>
                </a:lnTo>
                <a:lnTo>
                  <a:pt x="138" y="288"/>
                </a:lnTo>
                <a:lnTo>
                  <a:pt x="138" y="282"/>
                </a:lnTo>
                <a:lnTo>
                  <a:pt x="144" y="288"/>
                </a:lnTo>
                <a:lnTo>
                  <a:pt x="144" y="282"/>
                </a:lnTo>
                <a:lnTo>
                  <a:pt x="144" y="276"/>
                </a:lnTo>
                <a:lnTo>
                  <a:pt x="150" y="276"/>
                </a:lnTo>
                <a:lnTo>
                  <a:pt x="150" y="270"/>
                </a:lnTo>
                <a:lnTo>
                  <a:pt x="156" y="270"/>
                </a:lnTo>
                <a:lnTo>
                  <a:pt x="156" y="264"/>
                </a:lnTo>
                <a:lnTo>
                  <a:pt x="150" y="270"/>
                </a:lnTo>
                <a:lnTo>
                  <a:pt x="144" y="264"/>
                </a:lnTo>
                <a:lnTo>
                  <a:pt x="138" y="264"/>
                </a:lnTo>
                <a:lnTo>
                  <a:pt x="132" y="264"/>
                </a:lnTo>
                <a:lnTo>
                  <a:pt x="126" y="264"/>
                </a:lnTo>
                <a:lnTo>
                  <a:pt x="120" y="264"/>
                </a:lnTo>
                <a:lnTo>
                  <a:pt x="114" y="258"/>
                </a:lnTo>
                <a:lnTo>
                  <a:pt x="108" y="258"/>
                </a:lnTo>
                <a:lnTo>
                  <a:pt x="102" y="258"/>
                </a:lnTo>
                <a:lnTo>
                  <a:pt x="102" y="252"/>
                </a:lnTo>
                <a:lnTo>
                  <a:pt x="96" y="252"/>
                </a:lnTo>
                <a:lnTo>
                  <a:pt x="90" y="252"/>
                </a:lnTo>
                <a:lnTo>
                  <a:pt x="90" y="246"/>
                </a:lnTo>
                <a:lnTo>
                  <a:pt x="96" y="246"/>
                </a:lnTo>
                <a:lnTo>
                  <a:pt x="102" y="246"/>
                </a:lnTo>
                <a:lnTo>
                  <a:pt x="108" y="246"/>
                </a:lnTo>
                <a:lnTo>
                  <a:pt x="114" y="246"/>
                </a:lnTo>
                <a:lnTo>
                  <a:pt x="108" y="246"/>
                </a:lnTo>
                <a:lnTo>
                  <a:pt x="108" y="240"/>
                </a:lnTo>
                <a:lnTo>
                  <a:pt x="108" y="234"/>
                </a:lnTo>
                <a:lnTo>
                  <a:pt x="114" y="234"/>
                </a:lnTo>
                <a:lnTo>
                  <a:pt x="120" y="234"/>
                </a:lnTo>
                <a:lnTo>
                  <a:pt x="120" y="228"/>
                </a:lnTo>
                <a:lnTo>
                  <a:pt x="120" y="222"/>
                </a:lnTo>
                <a:lnTo>
                  <a:pt x="126" y="222"/>
                </a:lnTo>
                <a:lnTo>
                  <a:pt x="126" y="216"/>
                </a:lnTo>
                <a:lnTo>
                  <a:pt x="132" y="210"/>
                </a:lnTo>
                <a:lnTo>
                  <a:pt x="126" y="210"/>
                </a:lnTo>
                <a:lnTo>
                  <a:pt x="126" y="204"/>
                </a:lnTo>
                <a:lnTo>
                  <a:pt x="126" y="198"/>
                </a:lnTo>
                <a:lnTo>
                  <a:pt x="132" y="192"/>
                </a:lnTo>
                <a:lnTo>
                  <a:pt x="126" y="192"/>
                </a:lnTo>
                <a:lnTo>
                  <a:pt x="126" y="186"/>
                </a:lnTo>
                <a:lnTo>
                  <a:pt x="132" y="186"/>
                </a:lnTo>
                <a:lnTo>
                  <a:pt x="138" y="186"/>
                </a:lnTo>
                <a:lnTo>
                  <a:pt x="138" y="192"/>
                </a:lnTo>
                <a:lnTo>
                  <a:pt x="144" y="192"/>
                </a:lnTo>
                <a:lnTo>
                  <a:pt x="150" y="192"/>
                </a:lnTo>
                <a:lnTo>
                  <a:pt x="156" y="192"/>
                </a:lnTo>
                <a:lnTo>
                  <a:pt x="162" y="192"/>
                </a:lnTo>
                <a:lnTo>
                  <a:pt x="162" y="186"/>
                </a:lnTo>
                <a:lnTo>
                  <a:pt x="162" y="180"/>
                </a:lnTo>
                <a:lnTo>
                  <a:pt x="162" y="174"/>
                </a:lnTo>
                <a:lnTo>
                  <a:pt x="162" y="168"/>
                </a:lnTo>
                <a:lnTo>
                  <a:pt x="162" y="162"/>
                </a:lnTo>
                <a:lnTo>
                  <a:pt x="156" y="162"/>
                </a:lnTo>
                <a:lnTo>
                  <a:pt x="150" y="162"/>
                </a:lnTo>
                <a:lnTo>
                  <a:pt x="150" y="156"/>
                </a:lnTo>
                <a:lnTo>
                  <a:pt x="144" y="156"/>
                </a:lnTo>
                <a:lnTo>
                  <a:pt x="150" y="156"/>
                </a:lnTo>
                <a:lnTo>
                  <a:pt x="150" y="150"/>
                </a:lnTo>
                <a:lnTo>
                  <a:pt x="156" y="156"/>
                </a:lnTo>
                <a:lnTo>
                  <a:pt x="162" y="156"/>
                </a:lnTo>
                <a:lnTo>
                  <a:pt x="162" y="150"/>
                </a:lnTo>
                <a:lnTo>
                  <a:pt x="162" y="144"/>
                </a:lnTo>
                <a:lnTo>
                  <a:pt x="162" y="138"/>
                </a:lnTo>
                <a:lnTo>
                  <a:pt x="156" y="138"/>
                </a:lnTo>
                <a:lnTo>
                  <a:pt x="156" y="132"/>
                </a:lnTo>
                <a:lnTo>
                  <a:pt x="162" y="132"/>
                </a:lnTo>
                <a:lnTo>
                  <a:pt x="162" y="126"/>
                </a:lnTo>
                <a:lnTo>
                  <a:pt x="168" y="126"/>
                </a:lnTo>
                <a:lnTo>
                  <a:pt x="168" y="120"/>
                </a:lnTo>
                <a:lnTo>
                  <a:pt x="168" y="114"/>
                </a:lnTo>
                <a:lnTo>
                  <a:pt x="174" y="114"/>
                </a:lnTo>
                <a:lnTo>
                  <a:pt x="180" y="108"/>
                </a:lnTo>
                <a:lnTo>
                  <a:pt x="186" y="108"/>
                </a:lnTo>
                <a:lnTo>
                  <a:pt x="186" y="114"/>
                </a:lnTo>
                <a:lnTo>
                  <a:pt x="192" y="114"/>
                </a:lnTo>
                <a:lnTo>
                  <a:pt x="198" y="114"/>
                </a:lnTo>
                <a:lnTo>
                  <a:pt x="198" y="120"/>
                </a:lnTo>
                <a:lnTo>
                  <a:pt x="198" y="114"/>
                </a:lnTo>
                <a:lnTo>
                  <a:pt x="204" y="114"/>
                </a:lnTo>
                <a:lnTo>
                  <a:pt x="210" y="114"/>
                </a:lnTo>
                <a:lnTo>
                  <a:pt x="216" y="114"/>
                </a:lnTo>
                <a:lnTo>
                  <a:pt x="216" y="120"/>
                </a:lnTo>
                <a:lnTo>
                  <a:pt x="222" y="114"/>
                </a:lnTo>
                <a:lnTo>
                  <a:pt x="228" y="108"/>
                </a:lnTo>
                <a:lnTo>
                  <a:pt x="234" y="108"/>
                </a:lnTo>
                <a:lnTo>
                  <a:pt x="234" y="102"/>
                </a:lnTo>
                <a:lnTo>
                  <a:pt x="240" y="102"/>
                </a:lnTo>
                <a:lnTo>
                  <a:pt x="240" y="96"/>
                </a:lnTo>
                <a:lnTo>
                  <a:pt x="246" y="96"/>
                </a:lnTo>
                <a:lnTo>
                  <a:pt x="246" y="90"/>
                </a:lnTo>
                <a:lnTo>
                  <a:pt x="252" y="90"/>
                </a:lnTo>
                <a:lnTo>
                  <a:pt x="252" y="84"/>
                </a:lnTo>
                <a:lnTo>
                  <a:pt x="258" y="84"/>
                </a:lnTo>
                <a:lnTo>
                  <a:pt x="258" y="78"/>
                </a:lnTo>
                <a:lnTo>
                  <a:pt x="258" y="72"/>
                </a:lnTo>
                <a:lnTo>
                  <a:pt x="264" y="72"/>
                </a:lnTo>
                <a:lnTo>
                  <a:pt x="264" y="78"/>
                </a:lnTo>
                <a:lnTo>
                  <a:pt x="270" y="78"/>
                </a:lnTo>
                <a:lnTo>
                  <a:pt x="276" y="78"/>
                </a:lnTo>
                <a:lnTo>
                  <a:pt x="282" y="78"/>
                </a:lnTo>
                <a:lnTo>
                  <a:pt x="288" y="72"/>
                </a:lnTo>
                <a:lnTo>
                  <a:pt x="294" y="72"/>
                </a:lnTo>
                <a:lnTo>
                  <a:pt x="294" y="78"/>
                </a:lnTo>
                <a:lnTo>
                  <a:pt x="294" y="72"/>
                </a:lnTo>
                <a:lnTo>
                  <a:pt x="300" y="72"/>
                </a:lnTo>
                <a:lnTo>
                  <a:pt x="300" y="78"/>
                </a:lnTo>
                <a:lnTo>
                  <a:pt x="300" y="72"/>
                </a:lnTo>
                <a:lnTo>
                  <a:pt x="306" y="72"/>
                </a:lnTo>
                <a:lnTo>
                  <a:pt x="312" y="72"/>
                </a:lnTo>
                <a:lnTo>
                  <a:pt x="312" y="78"/>
                </a:lnTo>
                <a:lnTo>
                  <a:pt x="318" y="78"/>
                </a:lnTo>
                <a:lnTo>
                  <a:pt x="324" y="78"/>
                </a:lnTo>
                <a:lnTo>
                  <a:pt x="324" y="72"/>
                </a:lnTo>
                <a:lnTo>
                  <a:pt x="324" y="78"/>
                </a:lnTo>
                <a:lnTo>
                  <a:pt x="330" y="72"/>
                </a:lnTo>
                <a:lnTo>
                  <a:pt x="330" y="78"/>
                </a:lnTo>
                <a:lnTo>
                  <a:pt x="336" y="78"/>
                </a:lnTo>
                <a:lnTo>
                  <a:pt x="336" y="72"/>
                </a:lnTo>
                <a:lnTo>
                  <a:pt x="336" y="66"/>
                </a:lnTo>
                <a:lnTo>
                  <a:pt x="342" y="66"/>
                </a:lnTo>
                <a:lnTo>
                  <a:pt x="342" y="60"/>
                </a:lnTo>
                <a:lnTo>
                  <a:pt x="348" y="60"/>
                </a:lnTo>
                <a:lnTo>
                  <a:pt x="354" y="60"/>
                </a:lnTo>
                <a:lnTo>
                  <a:pt x="360" y="60"/>
                </a:lnTo>
                <a:lnTo>
                  <a:pt x="360" y="54"/>
                </a:lnTo>
                <a:lnTo>
                  <a:pt x="354" y="54"/>
                </a:lnTo>
                <a:lnTo>
                  <a:pt x="354" y="48"/>
                </a:lnTo>
                <a:lnTo>
                  <a:pt x="354" y="42"/>
                </a:lnTo>
                <a:lnTo>
                  <a:pt x="360" y="42"/>
                </a:lnTo>
                <a:lnTo>
                  <a:pt x="360" y="36"/>
                </a:lnTo>
                <a:lnTo>
                  <a:pt x="366" y="36"/>
                </a:lnTo>
                <a:lnTo>
                  <a:pt x="372" y="36"/>
                </a:lnTo>
                <a:lnTo>
                  <a:pt x="378" y="36"/>
                </a:lnTo>
                <a:lnTo>
                  <a:pt x="384" y="36"/>
                </a:lnTo>
                <a:lnTo>
                  <a:pt x="390" y="36"/>
                </a:lnTo>
                <a:lnTo>
                  <a:pt x="390" y="30"/>
                </a:lnTo>
                <a:lnTo>
                  <a:pt x="384" y="30"/>
                </a:lnTo>
                <a:lnTo>
                  <a:pt x="384" y="24"/>
                </a:lnTo>
                <a:lnTo>
                  <a:pt x="378" y="24"/>
                </a:lnTo>
                <a:lnTo>
                  <a:pt x="378" y="18"/>
                </a:lnTo>
                <a:lnTo>
                  <a:pt x="378" y="12"/>
                </a:lnTo>
                <a:lnTo>
                  <a:pt x="384" y="6"/>
                </a:lnTo>
                <a:lnTo>
                  <a:pt x="390" y="0"/>
                </a:lnTo>
                <a:lnTo>
                  <a:pt x="396" y="0"/>
                </a:lnTo>
                <a:lnTo>
                  <a:pt x="402" y="0"/>
                </a:lnTo>
                <a:lnTo>
                  <a:pt x="408" y="0"/>
                </a:lnTo>
                <a:lnTo>
                  <a:pt x="414" y="6"/>
                </a:lnTo>
                <a:lnTo>
                  <a:pt x="420" y="6"/>
                </a:lnTo>
                <a:lnTo>
                  <a:pt x="420" y="12"/>
                </a:lnTo>
                <a:lnTo>
                  <a:pt x="420" y="6"/>
                </a:lnTo>
                <a:lnTo>
                  <a:pt x="426" y="6"/>
                </a:lnTo>
                <a:lnTo>
                  <a:pt x="426" y="0"/>
                </a:lnTo>
                <a:lnTo>
                  <a:pt x="432" y="0"/>
                </a:lnTo>
                <a:lnTo>
                  <a:pt x="432" y="6"/>
                </a:lnTo>
                <a:lnTo>
                  <a:pt x="432" y="0"/>
                </a:lnTo>
                <a:lnTo>
                  <a:pt x="438" y="0"/>
                </a:lnTo>
                <a:lnTo>
                  <a:pt x="438" y="6"/>
                </a:lnTo>
                <a:lnTo>
                  <a:pt x="444" y="6"/>
                </a:lnTo>
                <a:lnTo>
                  <a:pt x="444" y="12"/>
                </a:lnTo>
                <a:lnTo>
                  <a:pt x="450" y="12"/>
                </a:lnTo>
                <a:lnTo>
                  <a:pt x="450" y="18"/>
                </a:lnTo>
                <a:lnTo>
                  <a:pt x="456" y="18"/>
                </a:lnTo>
                <a:lnTo>
                  <a:pt x="462" y="18"/>
                </a:lnTo>
                <a:lnTo>
                  <a:pt x="468" y="18"/>
                </a:lnTo>
                <a:lnTo>
                  <a:pt x="468" y="12"/>
                </a:lnTo>
                <a:lnTo>
                  <a:pt x="474" y="12"/>
                </a:lnTo>
                <a:lnTo>
                  <a:pt x="480" y="18"/>
                </a:lnTo>
                <a:lnTo>
                  <a:pt x="486" y="18"/>
                </a:lnTo>
                <a:lnTo>
                  <a:pt x="486" y="12"/>
                </a:lnTo>
                <a:lnTo>
                  <a:pt x="492" y="12"/>
                </a:lnTo>
                <a:lnTo>
                  <a:pt x="492" y="6"/>
                </a:lnTo>
                <a:lnTo>
                  <a:pt x="498" y="6"/>
                </a:lnTo>
                <a:lnTo>
                  <a:pt x="498" y="0"/>
                </a:lnTo>
                <a:lnTo>
                  <a:pt x="504" y="0"/>
                </a:lnTo>
                <a:lnTo>
                  <a:pt x="504" y="6"/>
                </a:lnTo>
                <a:lnTo>
                  <a:pt x="504" y="0"/>
                </a:lnTo>
                <a:lnTo>
                  <a:pt x="504" y="6"/>
                </a:lnTo>
                <a:lnTo>
                  <a:pt x="510" y="6"/>
                </a:lnTo>
                <a:lnTo>
                  <a:pt x="516" y="6"/>
                </a:lnTo>
                <a:lnTo>
                  <a:pt x="516" y="12"/>
                </a:lnTo>
                <a:lnTo>
                  <a:pt x="516" y="18"/>
                </a:lnTo>
                <a:lnTo>
                  <a:pt x="522" y="18"/>
                </a:lnTo>
                <a:lnTo>
                  <a:pt x="522" y="12"/>
                </a:lnTo>
                <a:lnTo>
                  <a:pt x="528" y="12"/>
                </a:lnTo>
                <a:lnTo>
                  <a:pt x="528" y="18"/>
                </a:lnTo>
                <a:lnTo>
                  <a:pt x="534" y="18"/>
                </a:lnTo>
                <a:lnTo>
                  <a:pt x="534" y="24"/>
                </a:lnTo>
                <a:lnTo>
                  <a:pt x="540" y="24"/>
                </a:lnTo>
                <a:lnTo>
                  <a:pt x="540" y="18"/>
                </a:lnTo>
                <a:lnTo>
                  <a:pt x="540" y="24"/>
                </a:lnTo>
                <a:lnTo>
                  <a:pt x="540" y="30"/>
                </a:lnTo>
                <a:lnTo>
                  <a:pt x="540" y="36"/>
                </a:lnTo>
                <a:lnTo>
                  <a:pt x="540" y="42"/>
                </a:lnTo>
                <a:lnTo>
                  <a:pt x="540" y="48"/>
                </a:lnTo>
                <a:lnTo>
                  <a:pt x="540" y="54"/>
                </a:lnTo>
                <a:lnTo>
                  <a:pt x="546" y="54"/>
                </a:lnTo>
                <a:lnTo>
                  <a:pt x="552" y="54"/>
                </a:lnTo>
                <a:lnTo>
                  <a:pt x="558" y="60"/>
                </a:lnTo>
                <a:lnTo>
                  <a:pt x="552" y="60"/>
                </a:lnTo>
                <a:lnTo>
                  <a:pt x="558" y="60"/>
                </a:lnTo>
                <a:lnTo>
                  <a:pt x="558" y="66"/>
                </a:lnTo>
                <a:lnTo>
                  <a:pt x="564" y="66"/>
                </a:lnTo>
                <a:lnTo>
                  <a:pt x="564" y="72"/>
                </a:lnTo>
                <a:lnTo>
                  <a:pt x="564" y="78"/>
                </a:lnTo>
                <a:lnTo>
                  <a:pt x="570" y="78"/>
                </a:lnTo>
                <a:lnTo>
                  <a:pt x="576" y="84"/>
                </a:lnTo>
                <a:lnTo>
                  <a:pt x="576" y="90"/>
                </a:lnTo>
                <a:lnTo>
                  <a:pt x="576" y="96"/>
                </a:lnTo>
                <a:lnTo>
                  <a:pt x="582" y="96"/>
                </a:lnTo>
                <a:lnTo>
                  <a:pt x="588" y="96"/>
                </a:lnTo>
                <a:lnTo>
                  <a:pt x="588" y="102"/>
                </a:lnTo>
                <a:lnTo>
                  <a:pt x="582" y="102"/>
                </a:lnTo>
                <a:lnTo>
                  <a:pt x="576" y="102"/>
                </a:lnTo>
                <a:lnTo>
                  <a:pt x="582" y="102"/>
                </a:lnTo>
                <a:lnTo>
                  <a:pt x="582" y="108"/>
                </a:lnTo>
                <a:lnTo>
                  <a:pt x="576" y="108"/>
                </a:lnTo>
                <a:lnTo>
                  <a:pt x="570" y="108"/>
                </a:lnTo>
                <a:lnTo>
                  <a:pt x="564" y="108"/>
                </a:lnTo>
                <a:lnTo>
                  <a:pt x="564" y="114"/>
                </a:lnTo>
                <a:lnTo>
                  <a:pt x="570" y="114"/>
                </a:lnTo>
                <a:lnTo>
                  <a:pt x="570" y="120"/>
                </a:lnTo>
                <a:lnTo>
                  <a:pt x="570" y="126"/>
                </a:lnTo>
                <a:lnTo>
                  <a:pt x="564" y="132"/>
                </a:lnTo>
                <a:lnTo>
                  <a:pt x="570" y="132"/>
                </a:lnTo>
                <a:lnTo>
                  <a:pt x="570" y="138"/>
                </a:lnTo>
                <a:lnTo>
                  <a:pt x="570" y="132"/>
                </a:lnTo>
                <a:lnTo>
                  <a:pt x="576" y="132"/>
                </a:lnTo>
                <a:lnTo>
                  <a:pt x="582" y="132"/>
                </a:lnTo>
                <a:lnTo>
                  <a:pt x="588" y="132"/>
                </a:lnTo>
                <a:lnTo>
                  <a:pt x="588" y="138"/>
                </a:lnTo>
                <a:lnTo>
                  <a:pt x="588" y="144"/>
                </a:lnTo>
                <a:lnTo>
                  <a:pt x="594" y="144"/>
                </a:lnTo>
                <a:lnTo>
                  <a:pt x="594" y="150"/>
                </a:lnTo>
                <a:lnTo>
                  <a:pt x="594" y="156"/>
                </a:lnTo>
                <a:lnTo>
                  <a:pt x="600" y="156"/>
                </a:lnTo>
                <a:lnTo>
                  <a:pt x="606" y="156"/>
                </a:lnTo>
                <a:lnTo>
                  <a:pt x="606" y="162"/>
                </a:lnTo>
                <a:lnTo>
                  <a:pt x="600" y="162"/>
                </a:lnTo>
                <a:lnTo>
                  <a:pt x="594" y="162"/>
                </a:lnTo>
                <a:lnTo>
                  <a:pt x="594" y="168"/>
                </a:lnTo>
                <a:lnTo>
                  <a:pt x="600" y="168"/>
                </a:lnTo>
                <a:lnTo>
                  <a:pt x="594" y="168"/>
                </a:lnTo>
                <a:lnTo>
                  <a:pt x="594" y="174"/>
                </a:lnTo>
                <a:lnTo>
                  <a:pt x="600" y="174"/>
                </a:lnTo>
                <a:lnTo>
                  <a:pt x="606" y="174"/>
                </a:lnTo>
                <a:lnTo>
                  <a:pt x="606" y="180"/>
                </a:lnTo>
                <a:lnTo>
                  <a:pt x="612" y="186"/>
                </a:lnTo>
                <a:lnTo>
                  <a:pt x="618" y="186"/>
                </a:lnTo>
                <a:lnTo>
                  <a:pt x="618" y="192"/>
                </a:lnTo>
                <a:lnTo>
                  <a:pt x="618" y="186"/>
                </a:lnTo>
                <a:lnTo>
                  <a:pt x="624" y="192"/>
                </a:lnTo>
                <a:lnTo>
                  <a:pt x="624" y="186"/>
                </a:lnTo>
                <a:lnTo>
                  <a:pt x="624" y="192"/>
                </a:lnTo>
                <a:lnTo>
                  <a:pt x="630" y="192"/>
                </a:lnTo>
                <a:lnTo>
                  <a:pt x="624" y="192"/>
                </a:lnTo>
                <a:lnTo>
                  <a:pt x="624" y="198"/>
                </a:lnTo>
                <a:lnTo>
                  <a:pt x="618" y="198"/>
                </a:lnTo>
                <a:lnTo>
                  <a:pt x="618" y="204"/>
                </a:lnTo>
                <a:lnTo>
                  <a:pt x="618" y="210"/>
                </a:lnTo>
                <a:lnTo>
                  <a:pt x="624" y="216"/>
                </a:lnTo>
                <a:lnTo>
                  <a:pt x="630" y="216"/>
                </a:lnTo>
                <a:lnTo>
                  <a:pt x="630" y="210"/>
                </a:lnTo>
                <a:lnTo>
                  <a:pt x="630" y="216"/>
                </a:lnTo>
                <a:lnTo>
                  <a:pt x="636" y="216"/>
                </a:lnTo>
                <a:lnTo>
                  <a:pt x="636" y="210"/>
                </a:lnTo>
                <a:lnTo>
                  <a:pt x="636" y="216"/>
                </a:lnTo>
                <a:lnTo>
                  <a:pt x="642" y="216"/>
                </a:lnTo>
                <a:lnTo>
                  <a:pt x="636" y="222"/>
                </a:lnTo>
                <a:lnTo>
                  <a:pt x="636" y="228"/>
                </a:lnTo>
                <a:lnTo>
                  <a:pt x="642" y="228"/>
                </a:lnTo>
                <a:lnTo>
                  <a:pt x="648" y="228"/>
                </a:lnTo>
                <a:lnTo>
                  <a:pt x="648" y="222"/>
                </a:lnTo>
                <a:lnTo>
                  <a:pt x="654" y="222"/>
                </a:lnTo>
                <a:lnTo>
                  <a:pt x="660" y="222"/>
                </a:lnTo>
                <a:lnTo>
                  <a:pt x="660" y="216"/>
                </a:lnTo>
                <a:lnTo>
                  <a:pt x="666" y="216"/>
                </a:lnTo>
                <a:lnTo>
                  <a:pt x="666" y="222"/>
                </a:lnTo>
                <a:lnTo>
                  <a:pt x="672" y="222"/>
                </a:lnTo>
                <a:lnTo>
                  <a:pt x="666" y="222"/>
                </a:lnTo>
                <a:lnTo>
                  <a:pt x="672" y="222"/>
                </a:lnTo>
                <a:lnTo>
                  <a:pt x="672" y="216"/>
                </a:lnTo>
                <a:lnTo>
                  <a:pt x="678" y="216"/>
                </a:lnTo>
                <a:lnTo>
                  <a:pt x="684" y="222"/>
                </a:lnTo>
                <a:lnTo>
                  <a:pt x="690" y="222"/>
                </a:lnTo>
                <a:lnTo>
                  <a:pt x="696" y="222"/>
                </a:lnTo>
                <a:lnTo>
                  <a:pt x="702" y="222"/>
                </a:lnTo>
                <a:lnTo>
                  <a:pt x="702" y="216"/>
                </a:lnTo>
                <a:lnTo>
                  <a:pt x="702" y="222"/>
                </a:lnTo>
                <a:lnTo>
                  <a:pt x="702" y="216"/>
                </a:lnTo>
                <a:lnTo>
                  <a:pt x="708" y="216"/>
                </a:lnTo>
                <a:lnTo>
                  <a:pt x="702" y="216"/>
                </a:lnTo>
                <a:lnTo>
                  <a:pt x="702" y="210"/>
                </a:lnTo>
                <a:lnTo>
                  <a:pt x="708" y="210"/>
                </a:lnTo>
                <a:lnTo>
                  <a:pt x="714" y="210"/>
                </a:lnTo>
                <a:lnTo>
                  <a:pt x="720" y="210"/>
                </a:lnTo>
                <a:lnTo>
                  <a:pt x="720" y="216"/>
                </a:lnTo>
                <a:lnTo>
                  <a:pt x="720" y="222"/>
                </a:lnTo>
                <a:lnTo>
                  <a:pt x="726" y="222"/>
                </a:lnTo>
                <a:lnTo>
                  <a:pt x="726" y="216"/>
                </a:lnTo>
                <a:lnTo>
                  <a:pt x="726" y="210"/>
                </a:lnTo>
                <a:lnTo>
                  <a:pt x="732" y="210"/>
                </a:lnTo>
                <a:lnTo>
                  <a:pt x="732" y="204"/>
                </a:lnTo>
                <a:lnTo>
                  <a:pt x="732" y="210"/>
                </a:lnTo>
                <a:lnTo>
                  <a:pt x="738" y="204"/>
                </a:lnTo>
                <a:lnTo>
                  <a:pt x="744" y="204"/>
                </a:lnTo>
                <a:lnTo>
                  <a:pt x="750" y="204"/>
                </a:lnTo>
                <a:lnTo>
                  <a:pt x="744" y="204"/>
                </a:lnTo>
                <a:lnTo>
                  <a:pt x="750" y="198"/>
                </a:lnTo>
                <a:lnTo>
                  <a:pt x="750" y="204"/>
                </a:lnTo>
                <a:lnTo>
                  <a:pt x="756" y="198"/>
                </a:lnTo>
                <a:lnTo>
                  <a:pt x="762" y="198"/>
                </a:lnTo>
                <a:lnTo>
                  <a:pt x="768" y="198"/>
                </a:lnTo>
                <a:lnTo>
                  <a:pt x="774" y="198"/>
                </a:lnTo>
                <a:lnTo>
                  <a:pt x="774" y="192"/>
                </a:lnTo>
                <a:lnTo>
                  <a:pt x="774" y="186"/>
                </a:lnTo>
                <a:lnTo>
                  <a:pt x="780" y="186"/>
                </a:lnTo>
                <a:lnTo>
                  <a:pt x="780" y="180"/>
                </a:lnTo>
                <a:lnTo>
                  <a:pt x="786" y="174"/>
                </a:lnTo>
                <a:lnTo>
                  <a:pt x="792" y="174"/>
                </a:lnTo>
                <a:lnTo>
                  <a:pt x="792" y="168"/>
                </a:lnTo>
                <a:lnTo>
                  <a:pt x="792" y="162"/>
                </a:lnTo>
                <a:lnTo>
                  <a:pt x="792" y="156"/>
                </a:lnTo>
                <a:lnTo>
                  <a:pt x="798" y="156"/>
                </a:lnTo>
                <a:lnTo>
                  <a:pt x="798" y="150"/>
                </a:lnTo>
                <a:lnTo>
                  <a:pt x="798" y="144"/>
                </a:lnTo>
                <a:lnTo>
                  <a:pt x="804" y="144"/>
                </a:lnTo>
                <a:lnTo>
                  <a:pt x="810" y="138"/>
                </a:lnTo>
                <a:lnTo>
                  <a:pt x="810" y="132"/>
                </a:lnTo>
                <a:lnTo>
                  <a:pt x="810" y="126"/>
                </a:lnTo>
                <a:lnTo>
                  <a:pt x="816" y="126"/>
                </a:lnTo>
                <a:lnTo>
                  <a:pt x="816" y="120"/>
                </a:lnTo>
                <a:lnTo>
                  <a:pt x="822" y="120"/>
                </a:lnTo>
                <a:lnTo>
                  <a:pt x="828" y="120"/>
                </a:lnTo>
                <a:lnTo>
                  <a:pt x="828" y="126"/>
                </a:lnTo>
                <a:lnTo>
                  <a:pt x="834" y="126"/>
                </a:lnTo>
                <a:lnTo>
                  <a:pt x="834" y="132"/>
                </a:lnTo>
                <a:lnTo>
                  <a:pt x="840" y="132"/>
                </a:lnTo>
                <a:lnTo>
                  <a:pt x="846" y="132"/>
                </a:lnTo>
                <a:lnTo>
                  <a:pt x="846" y="126"/>
                </a:lnTo>
                <a:lnTo>
                  <a:pt x="846" y="120"/>
                </a:lnTo>
                <a:lnTo>
                  <a:pt x="846" y="114"/>
                </a:lnTo>
                <a:lnTo>
                  <a:pt x="852" y="114"/>
                </a:lnTo>
                <a:lnTo>
                  <a:pt x="858" y="114"/>
                </a:lnTo>
                <a:lnTo>
                  <a:pt x="858" y="108"/>
                </a:lnTo>
                <a:lnTo>
                  <a:pt x="864" y="108"/>
                </a:lnTo>
                <a:lnTo>
                  <a:pt x="864" y="102"/>
                </a:lnTo>
                <a:lnTo>
                  <a:pt x="870" y="102"/>
                </a:lnTo>
                <a:lnTo>
                  <a:pt x="876" y="102"/>
                </a:lnTo>
                <a:lnTo>
                  <a:pt x="876" y="108"/>
                </a:lnTo>
                <a:lnTo>
                  <a:pt x="882" y="108"/>
                </a:lnTo>
                <a:lnTo>
                  <a:pt x="888" y="102"/>
                </a:lnTo>
                <a:lnTo>
                  <a:pt x="888" y="96"/>
                </a:lnTo>
                <a:lnTo>
                  <a:pt x="894" y="96"/>
                </a:lnTo>
                <a:lnTo>
                  <a:pt x="894" y="90"/>
                </a:lnTo>
                <a:lnTo>
                  <a:pt x="900" y="90"/>
                </a:lnTo>
                <a:lnTo>
                  <a:pt x="906" y="90"/>
                </a:lnTo>
                <a:lnTo>
                  <a:pt x="912" y="90"/>
                </a:lnTo>
                <a:lnTo>
                  <a:pt x="918" y="90"/>
                </a:lnTo>
                <a:lnTo>
                  <a:pt x="924" y="90"/>
                </a:lnTo>
                <a:lnTo>
                  <a:pt x="930" y="90"/>
                </a:lnTo>
                <a:lnTo>
                  <a:pt x="930" y="84"/>
                </a:lnTo>
                <a:lnTo>
                  <a:pt x="936" y="84"/>
                </a:lnTo>
                <a:lnTo>
                  <a:pt x="942" y="84"/>
                </a:lnTo>
                <a:lnTo>
                  <a:pt x="948" y="84"/>
                </a:lnTo>
                <a:lnTo>
                  <a:pt x="948" y="78"/>
                </a:lnTo>
                <a:lnTo>
                  <a:pt x="954" y="78"/>
                </a:lnTo>
                <a:lnTo>
                  <a:pt x="954" y="72"/>
                </a:lnTo>
                <a:lnTo>
                  <a:pt x="954" y="66"/>
                </a:lnTo>
                <a:lnTo>
                  <a:pt x="960" y="66"/>
                </a:lnTo>
                <a:lnTo>
                  <a:pt x="966" y="66"/>
                </a:lnTo>
                <a:lnTo>
                  <a:pt x="972" y="66"/>
                </a:lnTo>
                <a:lnTo>
                  <a:pt x="972" y="60"/>
                </a:lnTo>
                <a:lnTo>
                  <a:pt x="972" y="54"/>
                </a:lnTo>
                <a:lnTo>
                  <a:pt x="978" y="54"/>
                </a:lnTo>
                <a:lnTo>
                  <a:pt x="978" y="48"/>
                </a:lnTo>
                <a:lnTo>
                  <a:pt x="984" y="48"/>
                </a:lnTo>
                <a:lnTo>
                  <a:pt x="990" y="48"/>
                </a:lnTo>
                <a:lnTo>
                  <a:pt x="996" y="54"/>
                </a:lnTo>
                <a:lnTo>
                  <a:pt x="996" y="60"/>
                </a:lnTo>
                <a:lnTo>
                  <a:pt x="1002" y="60"/>
                </a:lnTo>
                <a:lnTo>
                  <a:pt x="1008" y="60"/>
                </a:lnTo>
                <a:lnTo>
                  <a:pt x="1008" y="54"/>
                </a:lnTo>
                <a:lnTo>
                  <a:pt x="1008" y="48"/>
                </a:lnTo>
                <a:lnTo>
                  <a:pt x="1008" y="42"/>
                </a:lnTo>
                <a:lnTo>
                  <a:pt x="1014" y="42"/>
                </a:lnTo>
                <a:lnTo>
                  <a:pt x="1020" y="42"/>
                </a:lnTo>
                <a:lnTo>
                  <a:pt x="1020" y="36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2" name="Freeform 18">
            <a:extLst>
              <a:ext uri="{FF2B5EF4-FFF2-40B4-BE49-F238E27FC236}">
                <a16:creationId xmlns:a16="http://schemas.microsoft.com/office/drawing/2014/main" id="{115D5020-424B-474A-86D5-3C17EF5CDC61}"/>
              </a:ext>
            </a:extLst>
          </p:cNvPr>
          <p:cNvSpPr>
            <a:spLocks/>
          </p:cNvSpPr>
          <p:nvPr/>
        </p:nvSpPr>
        <p:spPr bwMode="gray">
          <a:xfrm rot="533595">
            <a:off x="6821061" y="4535589"/>
            <a:ext cx="1069320" cy="1132696"/>
          </a:xfrm>
          <a:custGeom>
            <a:avLst/>
            <a:gdLst>
              <a:gd name="T0" fmla="*/ 1092 w 1182"/>
              <a:gd name="T1" fmla="*/ 438 h 1338"/>
              <a:gd name="T2" fmla="*/ 1014 w 1182"/>
              <a:gd name="T3" fmla="*/ 576 h 1338"/>
              <a:gd name="T4" fmla="*/ 954 w 1182"/>
              <a:gd name="T5" fmla="*/ 714 h 1338"/>
              <a:gd name="T6" fmla="*/ 888 w 1182"/>
              <a:gd name="T7" fmla="*/ 828 h 1338"/>
              <a:gd name="T8" fmla="*/ 846 w 1182"/>
              <a:gd name="T9" fmla="*/ 960 h 1338"/>
              <a:gd name="T10" fmla="*/ 912 w 1182"/>
              <a:gd name="T11" fmla="*/ 1062 h 1338"/>
              <a:gd name="T12" fmla="*/ 924 w 1182"/>
              <a:gd name="T13" fmla="*/ 1194 h 1338"/>
              <a:gd name="T14" fmla="*/ 978 w 1182"/>
              <a:gd name="T15" fmla="*/ 1242 h 1338"/>
              <a:gd name="T16" fmla="*/ 1014 w 1182"/>
              <a:gd name="T17" fmla="*/ 1338 h 1338"/>
              <a:gd name="T18" fmla="*/ 948 w 1182"/>
              <a:gd name="T19" fmla="*/ 1314 h 1338"/>
              <a:gd name="T20" fmla="*/ 852 w 1182"/>
              <a:gd name="T21" fmla="*/ 1296 h 1338"/>
              <a:gd name="T22" fmla="*/ 780 w 1182"/>
              <a:gd name="T23" fmla="*/ 1296 h 1338"/>
              <a:gd name="T24" fmla="*/ 714 w 1182"/>
              <a:gd name="T25" fmla="*/ 1278 h 1338"/>
              <a:gd name="T26" fmla="*/ 654 w 1182"/>
              <a:gd name="T27" fmla="*/ 1260 h 1338"/>
              <a:gd name="T28" fmla="*/ 570 w 1182"/>
              <a:gd name="T29" fmla="*/ 1224 h 1338"/>
              <a:gd name="T30" fmla="*/ 516 w 1182"/>
              <a:gd name="T31" fmla="*/ 1146 h 1338"/>
              <a:gd name="T32" fmla="*/ 438 w 1182"/>
              <a:gd name="T33" fmla="*/ 1134 h 1338"/>
              <a:gd name="T34" fmla="*/ 366 w 1182"/>
              <a:gd name="T35" fmla="*/ 1122 h 1338"/>
              <a:gd name="T36" fmla="*/ 300 w 1182"/>
              <a:gd name="T37" fmla="*/ 1110 h 1338"/>
              <a:gd name="T38" fmla="*/ 234 w 1182"/>
              <a:gd name="T39" fmla="*/ 1134 h 1338"/>
              <a:gd name="T40" fmla="*/ 216 w 1182"/>
              <a:gd name="T41" fmla="*/ 1074 h 1338"/>
              <a:gd name="T42" fmla="*/ 180 w 1182"/>
              <a:gd name="T43" fmla="*/ 1020 h 1338"/>
              <a:gd name="T44" fmla="*/ 168 w 1182"/>
              <a:gd name="T45" fmla="*/ 960 h 1338"/>
              <a:gd name="T46" fmla="*/ 138 w 1182"/>
              <a:gd name="T47" fmla="*/ 888 h 1338"/>
              <a:gd name="T48" fmla="*/ 132 w 1182"/>
              <a:gd name="T49" fmla="*/ 852 h 1338"/>
              <a:gd name="T50" fmla="*/ 108 w 1182"/>
              <a:gd name="T51" fmla="*/ 828 h 1338"/>
              <a:gd name="T52" fmla="*/ 108 w 1182"/>
              <a:gd name="T53" fmla="*/ 768 h 1338"/>
              <a:gd name="T54" fmla="*/ 48 w 1182"/>
              <a:gd name="T55" fmla="*/ 750 h 1338"/>
              <a:gd name="T56" fmla="*/ 30 w 1182"/>
              <a:gd name="T57" fmla="*/ 678 h 1338"/>
              <a:gd name="T58" fmla="*/ 36 w 1182"/>
              <a:gd name="T59" fmla="*/ 624 h 1338"/>
              <a:gd name="T60" fmla="*/ 18 w 1182"/>
              <a:gd name="T61" fmla="*/ 588 h 1338"/>
              <a:gd name="T62" fmla="*/ 6 w 1182"/>
              <a:gd name="T63" fmla="*/ 522 h 1338"/>
              <a:gd name="T64" fmla="*/ 18 w 1182"/>
              <a:gd name="T65" fmla="*/ 438 h 1338"/>
              <a:gd name="T66" fmla="*/ 54 w 1182"/>
              <a:gd name="T67" fmla="*/ 378 h 1338"/>
              <a:gd name="T68" fmla="*/ 120 w 1182"/>
              <a:gd name="T69" fmla="*/ 312 h 1338"/>
              <a:gd name="T70" fmla="*/ 198 w 1182"/>
              <a:gd name="T71" fmla="*/ 258 h 1338"/>
              <a:gd name="T72" fmla="*/ 240 w 1182"/>
              <a:gd name="T73" fmla="*/ 162 h 1338"/>
              <a:gd name="T74" fmla="*/ 276 w 1182"/>
              <a:gd name="T75" fmla="*/ 102 h 1338"/>
              <a:gd name="T76" fmla="*/ 300 w 1182"/>
              <a:gd name="T77" fmla="*/ 48 h 1338"/>
              <a:gd name="T78" fmla="*/ 360 w 1182"/>
              <a:gd name="T79" fmla="*/ 24 h 1338"/>
              <a:gd name="T80" fmla="*/ 426 w 1182"/>
              <a:gd name="T81" fmla="*/ 18 h 1338"/>
              <a:gd name="T82" fmla="*/ 444 w 1182"/>
              <a:gd name="T83" fmla="*/ 78 h 1338"/>
              <a:gd name="T84" fmla="*/ 486 w 1182"/>
              <a:gd name="T85" fmla="*/ 126 h 1338"/>
              <a:gd name="T86" fmla="*/ 540 w 1182"/>
              <a:gd name="T87" fmla="*/ 138 h 1338"/>
              <a:gd name="T88" fmla="*/ 612 w 1182"/>
              <a:gd name="T89" fmla="*/ 150 h 1338"/>
              <a:gd name="T90" fmla="*/ 642 w 1182"/>
              <a:gd name="T91" fmla="*/ 168 h 1338"/>
              <a:gd name="T92" fmla="*/ 666 w 1182"/>
              <a:gd name="T93" fmla="*/ 198 h 1338"/>
              <a:gd name="T94" fmla="*/ 666 w 1182"/>
              <a:gd name="T95" fmla="*/ 216 h 1338"/>
              <a:gd name="T96" fmla="*/ 642 w 1182"/>
              <a:gd name="T97" fmla="*/ 234 h 1338"/>
              <a:gd name="T98" fmla="*/ 618 w 1182"/>
              <a:gd name="T99" fmla="*/ 276 h 1338"/>
              <a:gd name="T100" fmla="*/ 642 w 1182"/>
              <a:gd name="T101" fmla="*/ 324 h 1338"/>
              <a:gd name="T102" fmla="*/ 726 w 1182"/>
              <a:gd name="T103" fmla="*/ 306 h 1338"/>
              <a:gd name="T104" fmla="*/ 714 w 1182"/>
              <a:gd name="T105" fmla="*/ 342 h 1338"/>
              <a:gd name="T106" fmla="*/ 774 w 1182"/>
              <a:gd name="T107" fmla="*/ 354 h 1338"/>
              <a:gd name="T108" fmla="*/ 858 w 1182"/>
              <a:gd name="T109" fmla="*/ 330 h 1338"/>
              <a:gd name="T110" fmla="*/ 936 w 1182"/>
              <a:gd name="T111" fmla="*/ 312 h 1338"/>
              <a:gd name="T112" fmla="*/ 990 w 1182"/>
              <a:gd name="T113" fmla="*/ 234 h 1338"/>
              <a:gd name="T114" fmla="*/ 1062 w 1182"/>
              <a:gd name="T115" fmla="*/ 216 h 1338"/>
              <a:gd name="T116" fmla="*/ 1110 w 1182"/>
              <a:gd name="T117" fmla="*/ 246 h 1338"/>
              <a:gd name="T118" fmla="*/ 1158 w 1182"/>
              <a:gd name="T119" fmla="*/ 282 h 133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182" h="1338">
                <a:moveTo>
                  <a:pt x="1182" y="318"/>
                </a:moveTo>
                <a:lnTo>
                  <a:pt x="1176" y="324"/>
                </a:lnTo>
                <a:lnTo>
                  <a:pt x="1170" y="330"/>
                </a:lnTo>
                <a:lnTo>
                  <a:pt x="1164" y="336"/>
                </a:lnTo>
                <a:lnTo>
                  <a:pt x="1164" y="342"/>
                </a:lnTo>
                <a:lnTo>
                  <a:pt x="1158" y="342"/>
                </a:lnTo>
                <a:lnTo>
                  <a:pt x="1158" y="348"/>
                </a:lnTo>
                <a:lnTo>
                  <a:pt x="1146" y="360"/>
                </a:lnTo>
                <a:lnTo>
                  <a:pt x="1140" y="372"/>
                </a:lnTo>
                <a:lnTo>
                  <a:pt x="1134" y="372"/>
                </a:lnTo>
                <a:lnTo>
                  <a:pt x="1134" y="378"/>
                </a:lnTo>
                <a:lnTo>
                  <a:pt x="1122" y="390"/>
                </a:lnTo>
                <a:lnTo>
                  <a:pt x="1116" y="396"/>
                </a:lnTo>
                <a:lnTo>
                  <a:pt x="1110" y="402"/>
                </a:lnTo>
                <a:lnTo>
                  <a:pt x="1110" y="408"/>
                </a:lnTo>
                <a:lnTo>
                  <a:pt x="1098" y="426"/>
                </a:lnTo>
                <a:lnTo>
                  <a:pt x="1098" y="432"/>
                </a:lnTo>
                <a:lnTo>
                  <a:pt x="1092" y="438"/>
                </a:lnTo>
                <a:lnTo>
                  <a:pt x="1086" y="444"/>
                </a:lnTo>
                <a:lnTo>
                  <a:pt x="1080" y="450"/>
                </a:lnTo>
                <a:lnTo>
                  <a:pt x="1074" y="462"/>
                </a:lnTo>
                <a:lnTo>
                  <a:pt x="1074" y="468"/>
                </a:lnTo>
                <a:lnTo>
                  <a:pt x="1068" y="480"/>
                </a:lnTo>
                <a:lnTo>
                  <a:pt x="1056" y="498"/>
                </a:lnTo>
                <a:lnTo>
                  <a:pt x="1050" y="504"/>
                </a:lnTo>
                <a:lnTo>
                  <a:pt x="1050" y="510"/>
                </a:lnTo>
                <a:lnTo>
                  <a:pt x="1050" y="516"/>
                </a:lnTo>
                <a:lnTo>
                  <a:pt x="1050" y="528"/>
                </a:lnTo>
                <a:lnTo>
                  <a:pt x="1038" y="534"/>
                </a:lnTo>
                <a:lnTo>
                  <a:pt x="1038" y="540"/>
                </a:lnTo>
                <a:lnTo>
                  <a:pt x="1032" y="546"/>
                </a:lnTo>
                <a:lnTo>
                  <a:pt x="1032" y="552"/>
                </a:lnTo>
                <a:lnTo>
                  <a:pt x="1026" y="558"/>
                </a:lnTo>
                <a:lnTo>
                  <a:pt x="1020" y="570"/>
                </a:lnTo>
                <a:lnTo>
                  <a:pt x="1020" y="576"/>
                </a:lnTo>
                <a:lnTo>
                  <a:pt x="1014" y="576"/>
                </a:lnTo>
                <a:lnTo>
                  <a:pt x="1014" y="582"/>
                </a:lnTo>
                <a:lnTo>
                  <a:pt x="1008" y="594"/>
                </a:lnTo>
                <a:lnTo>
                  <a:pt x="1008" y="600"/>
                </a:lnTo>
                <a:lnTo>
                  <a:pt x="1002" y="606"/>
                </a:lnTo>
                <a:lnTo>
                  <a:pt x="1002" y="612"/>
                </a:lnTo>
                <a:lnTo>
                  <a:pt x="996" y="630"/>
                </a:lnTo>
                <a:lnTo>
                  <a:pt x="990" y="636"/>
                </a:lnTo>
                <a:lnTo>
                  <a:pt x="984" y="642"/>
                </a:lnTo>
                <a:lnTo>
                  <a:pt x="978" y="660"/>
                </a:lnTo>
                <a:lnTo>
                  <a:pt x="972" y="666"/>
                </a:lnTo>
                <a:lnTo>
                  <a:pt x="972" y="672"/>
                </a:lnTo>
                <a:lnTo>
                  <a:pt x="966" y="672"/>
                </a:lnTo>
                <a:lnTo>
                  <a:pt x="960" y="678"/>
                </a:lnTo>
                <a:lnTo>
                  <a:pt x="960" y="684"/>
                </a:lnTo>
                <a:lnTo>
                  <a:pt x="960" y="696"/>
                </a:lnTo>
                <a:lnTo>
                  <a:pt x="960" y="702"/>
                </a:lnTo>
                <a:lnTo>
                  <a:pt x="954" y="708"/>
                </a:lnTo>
                <a:lnTo>
                  <a:pt x="954" y="714"/>
                </a:lnTo>
                <a:lnTo>
                  <a:pt x="948" y="714"/>
                </a:lnTo>
                <a:lnTo>
                  <a:pt x="942" y="720"/>
                </a:lnTo>
                <a:lnTo>
                  <a:pt x="942" y="726"/>
                </a:lnTo>
                <a:lnTo>
                  <a:pt x="936" y="732"/>
                </a:lnTo>
                <a:lnTo>
                  <a:pt x="930" y="738"/>
                </a:lnTo>
                <a:lnTo>
                  <a:pt x="936" y="744"/>
                </a:lnTo>
                <a:lnTo>
                  <a:pt x="930" y="750"/>
                </a:lnTo>
                <a:lnTo>
                  <a:pt x="930" y="756"/>
                </a:lnTo>
                <a:lnTo>
                  <a:pt x="924" y="762"/>
                </a:lnTo>
                <a:lnTo>
                  <a:pt x="924" y="768"/>
                </a:lnTo>
                <a:lnTo>
                  <a:pt x="918" y="774"/>
                </a:lnTo>
                <a:lnTo>
                  <a:pt x="918" y="786"/>
                </a:lnTo>
                <a:lnTo>
                  <a:pt x="918" y="792"/>
                </a:lnTo>
                <a:lnTo>
                  <a:pt x="912" y="804"/>
                </a:lnTo>
                <a:lnTo>
                  <a:pt x="906" y="804"/>
                </a:lnTo>
                <a:lnTo>
                  <a:pt x="900" y="810"/>
                </a:lnTo>
                <a:lnTo>
                  <a:pt x="894" y="816"/>
                </a:lnTo>
                <a:lnTo>
                  <a:pt x="888" y="828"/>
                </a:lnTo>
                <a:lnTo>
                  <a:pt x="888" y="834"/>
                </a:lnTo>
                <a:lnTo>
                  <a:pt x="882" y="840"/>
                </a:lnTo>
                <a:lnTo>
                  <a:pt x="882" y="852"/>
                </a:lnTo>
                <a:lnTo>
                  <a:pt x="876" y="858"/>
                </a:lnTo>
                <a:lnTo>
                  <a:pt x="876" y="864"/>
                </a:lnTo>
                <a:lnTo>
                  <a:pt x="876" y="870"/>
                </a:lnTo>
                <a:lnTo>
                  <a:pt x="870" y="870"/>
                </a:lnTo>
                <a:lnTo>
                  <a:pt x="864" y="882"/>
                </a:lnTo>
                <a:lnTo>
                  <a:pt x="864" y="888"/>
                </a:lnTo>
                <a:lnTo>
                  <a:pt x="852" y="900"/>
                </a:lnTo>
                <a:lnTo>
                  <a:pt x="852" y="906"/>
                </a:lnTo>
                <a:lnTo>
                  <a:pt x="852" y="918"/>
                </a:lnTo>
                <a:lnTo>
                  <a:pt x="852" y="930"/>
                </a:lnTo>
                <a:lnTo>
                  <a:pt x="846" y="936"/>
                </a:lnTo>
                <a:lnTo>
                  <a:pt x="846" y="942"/>
                </a:lnTo>
                <a:lnTo>
                  <a:pt x="840" y="948"/>
                </a:lnTo>
                <a:lnTo>
                  <a:pt x="840" y="954"/>
                </a:lnTo>
                <a:lnTo>
                  <a:pt x="846" y="960"/>
                </a:lnTo>
                <a:lnTo>
                  <a:pt x="852" y="966"/>
                </a:lnTo>
                <a:lnTo>
                  <a:pt x="858" y="966"/>
                </a:lnTo>
                <a:lnTo>
                  <a:pt x="864" y="972"/>
                </a:lnTo>
                <a:lnTo>
                  <a:pt x="870" y="972"/>
                </a:lnTo>
                <a:lnTo>
                  <a:pt x="870" y="978"/>
                </a:lnTo>
                <a:lnTo>
                  <a:pt x="870" y="984"/>
                </a:lnTo>
                <a:lnTo>
                  <a:pt x="876" y="990"/>
                </a:lnTo>
                <a:lnTo>
                  <a:pt x="876" y="996"/>
                </a:lnTo>
                <a:lnTo>
                  <a:pt x="876" y="1002"/>
                </a:lnTo>
                <a:lnTo>
                  <a:pt x="882" y="1014"/>
                </a:lnTo>
                <a:lnTo>
                  <a:pt x="882" y="1020"/>
                </a:lnTo>
                <a:lnTo>
                  <a:pt x="888" y="1026"/>
                </a:lnTo>
                <a:lnTo>
                  <a:pt x="894" y="1032"/>
                </a:lnTo>
                <a:lnTo>
                  <a:pt x="900" y="1038"/>
                </a:lnTo>
                <a:lnTo>
                  <a:pt x="900" y="1050"/>
                </a:lnTo>
                <a:lnTo>
                  <a:pt x="906" y="1050"/>
                </a:lnTo>
                <a:lnTo>
                  <a:pt x="906" y="1062"/>
                </a:lnTo>
                <a:lnTo>
                  <a:pt x="912" y="1062"/>
                </a:lnTo>
                <a:lnTo>
                  <a:pt x="912" y="1068"/>
                </a:lnTo>
                <a:lnTo>
                  <a:pt x="912" y="1080"/>
                </a:lnTo>
                <a:lnTo>
                  <a:pt x="912" y="1086"/>
                </a:lnTo>
                <a:lnTo>
                  <a:pt x="918" y="1092"/>
                </a:lnTo>
                <a:lnTo>
                  <a:pt x="918" y="1098"/>
                </a:lnTo>
                <a:lnTo>
                  <a:pt x="918" y="1104"/>
                </a:lnTo>
                <a:lnTo>
                  <a:pt x="924" y="1116"/>
                </a:lnTo>
                <a:lnTo>
                  <a:pt x="924" y="1128"/>
                </a:lnTo>
                <a:lnTo>
                  <a:pt x="924" y="1146"/>
                </a:lnTo>
                <a:lnTo>
                  <a:pt x="924" y="1158"/>
                </a:lnTo>
                <a:lnTo>
                  <a:pt x="918" y="1164"/>
                </a:lnTo>
                <a:lnTo>
                  <a:pt x="918" y="1170"/>
                </a:lnTo>
                <a:lnTo>
                  <a:pt x="918" y="1176"/>
                </a:lnTo>
                <a:lnTo>
                  <a:pt x="918" y="1182"/>
                </a:lnTo>
                <a:lnTo>
                  <a:pt x="924" y="1182"/>
                </a:lnTo>
                <a:lnTo>
                  <a:pt x="930" y="1182"/>
                </a:lnTo>
                <a:lnTo>
                  <a:pt x="930" y="1188"/>
                </a:lnTo>
                <a:lnTo>
                  <a:pt x="924" y="1194"/>
                </a:lnTo>
                <a:lnTo>
                  <a:pt x="924" y="1200"/>
                </a:lnTo>
                <a:lnTo>
                  <a:pt x="924" y="1206"/>
                </a:lnTo>
                <a:lnTo>
                  <a:pt x="918" y="1212"/>
                </a:lnTo>
                <a:lnTo>
                  <a:pt x="924" y="1218"/>
                </a:lnTo>
                <a:lnTo>
                  <a:pt x="930" y="1212"/>
                </a:lnTo>
                <a:lnTo>
                  <a:pt x="936" y="1206"/>
                </a:lnTo>
                <a:lnTo>
                  <a:pt x="942" y="1206"/>
                </a:lnTo>
                <a:lnTo>
                  <a:pt x="942" y="1212"/>
                </a:lnTo>
                <a:lnTo>
                  <a:pt x="942" y="1218"/>
                </a:lnTo>
                <a:lnTo>
                  <a:pt x="942" y="1224"/>
                </a:lnTo>
                <a:lnTo>
                  <a:pt x="942" y="1230"/>
                </a:lnTo>
                <a:lnTo>
                  <a:pt x="954" y="1230"/>
                </a:lnTo>
                <a:lnTo>
                  <a:pt x="960" y="1224"/>
                </a:lnTo>
                <a:lnTo>
                  <a:pt x="966" y="1224"/>
                </a:lnTo>
                <a:lnTo>
                  <a:pt x="966" y="1230"/>
                </a:lnTo>
                <a:lnTo>
                  <a:pt x="972" y="1236"/>
                </a:lnTo>
                <a:lnTo>
                  <a:pt x="972" y="1242"/>
                </a:lnTo>
                <a:lnTo>
                  <a:pt x="978" y="1242"/>
                </a:lnTo>
                <a:lnTo>
                  <a:pt x="984" y="1248"/>
                </a:lnTo>
                <a:lnTo>
                  <a:pt x="990" y="1248"/>
                </a:lnTo>
                <a:lnTo>
                  <a:pt x="996" y="1254"/>
                </a:lnTo>
                <a:lnTo>
                  <a:pt x="1002" y="1254"/>
                </a:lnTo>
                <a:lnTo>
                  <a:pt x="1008" y="1254"/>
                </a:lnTo>
                <a:lnTo>
                  <a:pt x="1008" y="1260"/>
                </a:lnTo>
                <a:lnTo>
                  <a:pt x="1014" y="1260"/>
                </a:lnTo>
                <a:lnTo>
                  <a:pt x="1020" y="1266"/>
                </a:lnTo>
                <a:lnTo>
                  <a:pt x="1020" y="1278"/>
                </a:lnTo>
                <a:lnTo>
                  <a:pt x="1020" y="1284"/>
                </a:lnTo>
                <a:lnTo>
                  <a:pt x="1020" y="1296"/>
                </a:lnTo>
                <a:lnTo>
                  <a:pt x="1020" y="1302"/>
                </a:lnTo>
                <a:lnTo>
                  <a:pt x="1020" y="1308"/>
                </a:lnTo>
                <a:lnTo>
                  <a:pt x="1026" y="1314"/>
                </a:lnTo>
                <a:lnTo>
                  <a:pt x="1026" y="1320"/>
                </a:lnTo>
                <a:lnTo>
                  <a:pt x="1032" y="1332"/>
                </a:lnTo>
                <a:lnTo>
                  <a:pt x="1026" y="1338"/>
                </a:lnTo>
                <a:lnTo>
                  <a:pt x="1014" y="1338"/>
                </a:lnTo>
                <a:lnTo>
                  <a:pt x="1008" y="1338"/>
                </a:lnTo>
                <a:lnTo>
                  <a:pt x="1008" y="1332"/>
                </a:lnTo>
                <a:lnTo>
                  <a:pt x="1008" y="1326"/>
                </a:lnTo>
                <a:lnTo>
                  <a:pt x="1002" y="1320"/>
                </a:lnTo>
                <a:lnTo>
                  <a:pt x="996" y="1320"/>
                </a:lnTo>
                <a:lnTo>
                  <a:pt x="990" y="1320"/>
                </a:lnTo>
                <a:lnTo>
                  <a:pt x="984" y="1314"/>
                </a:lnTo>
                <a:lnTo>
                  <a:pt x="978" y="1314"/>
                </a:lnTo>
                <a:lnTo>
                  <a:pt x="978" y="1308"/>
                </a:lnTo>
                <a:lnTo>
                  <a:pt x="972" y="1308"/>
                </a:lnTo>
                <a:lnTo>
                  <a:pt x="972" y="1302"/>
                </a:lnTo>
                <a:lnTo>
                  <a:pt x="966" y="1308"/>
                </a:lnTo>
                <a:lnTo>
                  <a:pt x="966" y="1314"/>
                </a:lnTo>
                <a:lnTo>
                  <a:pt x="960" y="1314"/>
                </a:lnTo>
                <a:lnTo>
                  <a:pt x="954" y="1314"/>
                </a:lnTo>
                <a:lnTo>
                  <a:pt x="954" y="1320"/>
                </a:lnTo>
                <a:lnTo>
                  <a:pt x="954" y="1314"/>
                </a:lnTo>
                <a:lnTo>
                  <a:pt x="948" y="1314"/>
                </a:lnTo>
                <a:lnTo>
                  <a:pt x="942" y="1320"/>
                </a:lnTo>
                <a:lnTo>
                  <a:pt x="936" y="1320"/>
                </a:lnTo>
                <a:lnTo>
                  <a:pt x="930" y="1320"/>
                </a:lnTo>
                <a:lnTo>
                  <a:pt x="924" y="1320"/>
                </a:lnTo>
                <a:lnTo>
                  <a:pt x="918" y="1320"/>
                </a:lnTo>
                <a:lnTo>
                  <a:pt x="912" y="1320"/>
                </a:lnTo>
                <a:lnTo>
                  <a:pt x="906" y="1314"/>
                </a:lnTo>
                <a:lnTo>
                  <a:pt x="900" y="1308"/>
                </a:lnTo>
                <a:lnTo>
                  <a:pt x="894" y="1302"/>
                </a:lnTo>
                <a:lnTo>
                  <a:pt x="888" y="1302"/>
                </a:lnTo>
                <a:lnTo>
                  <a:pt x="888" y="1296"/>
                </a:lnTo>
                <a:lnTo>
                  <a:pt x="882" y="1296"/>
                </a:lnTo>
                <a:lnTo>
                  <a:pt x="876" y="1296"/>
                </a:lnTo>
                <a:lnTo>
                  <a:pt x="876" y="1290"/>
                </a:lnTo>
                <a:lnTo>
                  <a:pt x="870" y="1290"/>
                </a:lnTo>
                <a:lnTo>
                  <a:pt x="864" y="1290"/>
                </a:lnTo>
                <a:lnTo>
                  <a:pt x="858" y="1296"/>
                </a:lnTo>
                <a:lnTo>
                  <a:pt x="852" y="1296"/>
                </a:lnTo>
                <a:lnTo>
                  <a:pt x="846" y="1296"/>
                </a:lnTo>
                <a:lnTo>
                  <a:pt x="840" y="1296"/>
                </a:lnTo>
                <a:lnTo>
                  <a:pt x="834" y="1296"/>
                </a:lnTo>
                <a:lnTo>
                  <a:pt x="834" y="1302"/>
                </a:lnTo>
                <a:lnTo>
                  <a:pt x="828" y="1302"/>
                </a:lnTo>
                <a:lnTo>
                  <a:pt x="828" y="1308"/>
                </a:lnTo>
                <a:lnTo>
                  <a:pt x="822" y="1308"/>
                </a:lnTo>
                <a:lnTo>
                  <a:pt x="822" y="1302"/>
                </a:lnTo>
                <a:lnTo>
                  <a:pt x="816" y="1302"/>
                </a:lnTo>
                <a:lnTo>
                  <a:pt x="810" y="1302"/>
                </a:lnTo>
                <a:lnTo>
                  <a:pt x="810" y="1296"/>
                </a:lnTo>
                <a:lnTo>
                  <a:pt x="804" y="1296"/>
                </a:lnTo>
                <a:lnTo>
                  <a:pt x="798" y="1296"/>
                </a:lnTo>
                <a:lnTo>
                  <a:pt x="792" y="1296"/>
                </a:lnTo>
                <a:lnTo>
                  <a:pt x="792" y="1302"/>
                </a:lnTo>
                <a:lnTo>
                  <a:pt x="786" y="1302"/>
                </a:lnTo>
                <a:lnTo>
                  <a:pt x="780" y="1302"/>
                </a:lnTo>
                <a:lnTo>
                  <a:pt x="780" y="1296"/>
                </a:lnTo>
                <a:lnTo>
                  <a:pt x="774" y="1296"/>
                </a:lnTo>
                <a:lnTo>
                  <a:pt x="774" y="1290"/>
                </a:lnTo>
                <a:lnTo>
                  <a:pt x="768" y="1290"/>
                </a:lnTo>
                <a:lnTo>
                  <a:pt x="768" y="1284"/>
                </a:lnTo>
                <a:lnTo>
                  <a:pt x="762" y="1284"/>
                </a:lnTo>
                <a:lnTo>
                  <a:pt x="762" y="1278"/>
                </a:lnTo>
                <a:lnTo>
                  <a:pt x="756" y="1278"/>
                </a:lnTo>
                <a:lnTo>
                  <a:pt x="756" y="1272"/>
                </a:lnTo>
                <a:lnTo>
                  <a:pt x="750" y="1266"/>
                </a:lnTo>
                <a:lnTo>
                  <a:pt x="750" y="1272"/>
                </a:lnTo>
                <a:lnTo>
                  <a:pt x="744" y="1272"/>
                </a:lnTo>
                <a:lnTo>
                  <a:pt x="738" y="1272"/>
                </a:lnTo>
                <a:lnTo>
                  <a:pt x="732" y="1272"/>
                </a:lnTo>
                <a:lnTo>
                  <a:pt x="732" y="1278"/>
                </a:lnTo>
                <a:lnTo>
                  <a:pt x="726" y="1284"/>
                </a:lnTo>
                <a:lnTo>
                  <a:pt x="720" y="1284"/>
                </a:lnTo>
                <a:lnTo>
                  <a:pt x="720" y="1278"/>
                </a:lnTo>
                <a:lnTo>
                  <a:pt x="714" y="1278"/>
                </a:lnTo>
                <a:lnTo>
                  <a:pt x="708" y="1278"/>
                </a:lnTo>
                <a:lnTo>
                  <a:pt x="702" y="1278"/>
                </a:lnTo>
                <a:lnTo>
                  <a:pt x="696" y="1278"/>
                </a:lnTo>
                <a:lnTo>
                  <a:pt x="690" y="1278"/>
                </a:lnTo>
                <a:lnTo>
                  <a:pt x="684" y="1278"/>
                </a:lnTo>
                <a:lnTo>
                  <a:pt x="678" y="1278"/>
                </a:lnTo>
                <a:lnTo>
                  <a:pt x="678" y="1272"/>
                </a:lnTo>
                <a:lnTo>
                  <a:pt x="678" y="1266"/>
                </a:lnTo>
                <a:lnTo>
                  <a:pt x="684" y="1266"/>
                </a:lnTo>
                <a:lnTo>
                  <a:pt x="684" y="1260"/>
                </a:lnTo>
                <a:lnTo>
                  <a:pt x="678" y="1260"/>
                </a:lnTo>
                <a:lnTo>
                  <a:pt x="678" y="1254"/>
                </a:lnTo>
                <a:lnTo>
                  <a:pt x="672" y="1254"/>
                </a:lnTo>
                <a:lnTo>
                  <a:pt x="666" y="1254"/>
                </a:lnTo>
                <a:lnTo>
                  <a:pt x="666" y="1260"/>
                </a:lnTo>
                <a:lnTo>
                  <a:pt x="660" y="1260"/>
                </a:lnTo>
                <a:lnTo>
                  <a:pt x="660" y="1266"/>
                </a:lnTo>
                <a:lnTo>
                  <a:pt x="654" y="1260"/>
                </a:lnTo>
                <a:lnTo>
                  <a:pt x="648" y="1260"/>
                </a:lnTo>
                <a:lnTo>
                  <a:pt x="642" y="1260"/>
                </a:lnTo>
                <a:lnTo>
                  <a:pt x="642" y="1254"/>
                </a:lnTo>
                <a:lnTo>
                  <a:pt x="636" y="1254"/>
                </a:lnTo>
                <a:lnTo>
                  <a:pt x="630" y="1248"/>
                </a:lnTo>
                <a:lnTo>
                  <a:pt x="624" y="1248"/>
                </a:lnTo>
                <a:lnTo>
                  <a:pt x="618" y="1248"/>
                </a:lnTo>
                <a:lnTo>
                  <a:pt x="612" y="1248"/>
                </a:lnTo>
                <a:lnTo>
                  <a:pt x="606" y="1248"/>
                </a:lnTo>
                <a:lnTo>
                  <a:pt x="600" y="1248"/>
                </a:lnTo>
                <a:lnTo>
                  <a:pt x="594" y="1248"/>
                </a:lnTo>
                <a:lnTo>
                  <a:pt x="588" y="1248"/>
                </a:lnTo>
                <a:lnTo>
                  <a:pt x="582" y="1242"/>
                </a:lnTo>
                <a:lnTo>
                  <a:pt x="576" y="1242"/>
                </a:lnTo>
                <a:lnTo>
                  <a:pt x="570" y="1242"/>
                </a:lnTo>
                <a:lnTo>
                  <a:pt x="570" y="1236"/>
                </a:lnTo>
                <a:lnTo>
                  <a:pt x="570" y="1230"/>
                </a:lnTo>
                <a:lnTo>
                  <a:pt x="570" y="1224"/>
                </a:lnTo>
                <a:lnTo>
                  <a:pt x="570" y="1218"/>
                </a:lnTo>
                <a:lnTo>
                  <a:pt x="570" y="1212"/>
                </a:lnTo>
                <a:lnTo>
                  <a:pt x="564" y="1212"/>
                </a:lnTo>
                <a:lnTo>
                  <a:pt x="564" y="1206"/>
                </a:lnTo>
                <a:lnTo>
                  <a:pt x="564" y="1200"/>
                </a:lnTo>
                <a:lnTo>
                  <a:pt x="558" y="1194"/>
                </a:lnTo>
                <a:lnTo>
                  <a:pt x="552" y="1194"/>
                </a:lnTo>
                <a:lnTo>
                  <a:pt x="552" y="1188"/>
                </a:lnTo>
                <a:lnTo>
                  <a:pt x="546" y="1188"/>
                </a:lnTo>
                <a:lnTo>
                  <a:pt x="546" y="1182"/>
                </a:lnTo>
                <a:lnTo>
                  <a:pt x="540" y="1176"/>
                </a:lnTo>
                <a:lnTo>
                  <a:pt x="534" y="1176"/>
                </a:lnTo>
                <a:lnTo>
                  <a:pt x="534" y="1170"/>
                </a:lnTo>
                <a:lnTo>
                  <a:pt x="534" y="1164"/>
                </a:lnTo>
                <a:lnTo>
                  <a:pt x="528" y="1164"/>
                </a:lnTo>
                <a:lnTo>
                  <a:pt x="528" y="1158"/>
                </a:lnTo>
                <a:lnTo>
                  <a:pt x="522" y="1152"/>
                </a:lnTo>
                <a:lnTo>
                  <a:pt x="516" y="1146"/>
                </a:lnTo>
                <a:lnTo>
                  <a:pt x="516" y="1152"/>
                </a:lnTo>
                <a:lnTo>
                  <a:pt x="510" y="1152"/>
                </a:lnTo>
                <a:lnTo>
                  <a:pt x="504" y="1152"/>
                </a:lnTo>
                <a:lnTo>
                  <a:pt x="498" y="1146"/>
                </a:lnTo>
                <a:lnTo>
                  <a:pt x="492" y="1152"/>
                </a:lnTo>
                <a:lnTo>
                  <a:pt x="486" y="1146"/>
                </a:lnTo>
                <a:lnTo>
                  <a:pt x="480" y="1146"/>
                </a:lnTo>
                <a:lnTo>
                  <a:pt x="480" y="1140"/>
                </a:lnTo>
                <a:lnTo>
                  <a:pt x="474" y="1140"/>
                </a:lnTo>
                <a:lnTo>
                  <a:pt x="468" y="1140"/>
                </a:lnTo>
                <a:lnTo>
                  <a:pt x="462" y="1140"/>
                </a:lnTo>
                <a:lnTo>
                  <a:pt x="462" y="1134"/>
                </a:lnTo>
                <a:lnTo>
                  <a:pt x="456" y="1134"/>
                </a:lnTo>
                <a:lnTo>
                  <a:pt x="456" y="1128"/>
                </a:lnTo>
                <a:lnTo>
                  <a:pt x="450" y="1128"/>
                </a:lnTo>
                <a:lnTo>
                  <a:pt x="444" y="1128"/>
                </a:lnTo>
                <a:lnTo>
                  <a:pt x="444" y="1134"/>
                </a:lnTo>
                <a:lnTo>
                  <a:pt x="438" y="1134"/>
                </a:lnTo>
                <a:lnTo>
                  <a:pt x="432" y="1140"/>
                </a:lnTo>
                <a:lnTo>
                  <a:pt x="432" y="1146"/>
                </a:lnTo>
                <a:lnTo>
                  <a:pt x="432" y="1152"/>
                </a:lnTo>
                <a:lnTo>
                  <a:pt x="432" y="1158"/>
                </a:lnTo>
                <a:lnTo>
                  <a:pt x="426" y="1158"/>
                </a:lnTo>
                <a:lnTo>
                  <a:pt x="420" y="1152"/>
                </a:lnTo>
                <a:lnTo>
                  <a:pt x="420" y="1146"/>
                </a:lnTo>
                <a:lnTo>
                  <a:pt x="414" y="1140"/>
                </a:lnTo>
                <a:lnTo>
                  <a:pt x="408" y="1134"/>
                </a:lnTo>
                <a:lnTo>
                  <a:pt x="402" y="1134"/>
                </a:lnTo>
                <a:lnTo>
                  <a:pt x="396" y="1128"/>
                </a:lnTo>
                <a:lnTo>
                  <a:pt x="390" y="1128"/>
                </a:lnTo>
                <a:lnTo>
                  <a:pt x="390" y="1122"/>
                </a:lnTo>
                <a:lnTo>
                  <a:pt x="384" y="1122"/>
                </a:lnTo>
                <a:lnTo>
                  <a:pt x="384" y="1116"/>
                </a:lnTo>
                <a:lnTo>
                  <a:pt x="378" y="1116"/>
                </a:lnTo>
                <a:lnTo>
                  <a:pt x="372" y="1122"/>
                </a:lnTo>
                <a:lnTo>
                  <a:pt x="366" y="1122"/>
                </a:lnTo>
                <a:lnTo>
                  <a:pt x="360" y="1122"/>
                </a:lnTo>
                <a:lnTo>
                  <a:pt x="354" y="1122"/>
                </a:lnTo>
                <a:lnTo>
                  <a:pt x="354" y="1116"/>
                </a:lnTo>
                <a:lnTo>
                  <a:pt x="354" y="1110"/>
                </a:lnTo>
                <a:lnTo>
                  <a:pt x="348" y="1110"/>
                </a:lnTo>
                <a:lnTo>
                  <a:pt x="342" y="1104"/>
                </a:lnTo>
                <a:lnTo>
                  <a:pt x="342" y="1098"/>
                </a:lnTo>
                <a:lnTo>
                  <a:pt x="336" y="1098"/>
                </a:lnTo>
                <a:lnTo>
                  <a:pt x="336" y="1104"/>
                </a:lnTo>
                <a:lnTo>
                  <a:pt x="330" y="1104"/>
                </a:lnTo>
                <a:lnTo>
                  <a:pt x="330" y="1110"/>
                </a:lnTo>
                <a:lnTo>
                  <a:pt x="324" y="1110"/>
                </a:lnTo>
                <a:lnTo>
                  <a:pt x="324" y="1116"/>
                </a:lnTo>
                <a:lnTo>
                  <a:pt x="318" y="1116"/>
                </a:lnTo>
                <a:lnTo>
                  <a:pt x="312" y="1116"/>
                </a:lnTo>
                <a:lnTo>
                  <a:pt x="312" y="1110"/>
                </a:lnTo>
                <a:lnTo>
                  <a:pt x="306" y="1110"/>
                </a:lnTo>
                <a:lnTo>
                  <a:pt x="300" y="1110"/>
                </a:lnTo>
                <a:lnTo>
                  <a:pt x="300" y="1116"/>
                </a:lnTo>
                <a:lnTo>
                  <a:pt x="294" y="1116"/>
                </a:lnTo>
                <a:lnTo>
                  <a:pt x="288" y="1116"/>
                </a:lnTo>
                <a:lnTo>
                  <a:pt x="282" y="1122"/>
                </a:lnTo>
                <a:lnTo>
                  <a:pt x="288" y="1122"/>
                </a:lnTo>
                <a:lnTo>
                  <a:pt x="288" y="1128"/>
                </a:lnTo>
                <a:lnTo>
                  <a:pt x="288" y="1134"/>
                </a:lnTo>
                <a:lnTo>
                  <a:pt x="282" y="1134"/>
                </a:lnTo>
                <a:lnTo>
                  <a:pt x="276" y="1128"/>
                </a:lnTo>
                <a:lnTo>
                  <a:pt x="270" y="1122"/>
                </a:lnTo>
                <a:lnTo>
                  <a:pt x="270" y="1128"/>
                </a:lnTo>
                <a:lnTo>
                  <a:pt x="270" y="1134"/>
                </a:lnTo>
                <a:lnTo>
                  <a:pt x="264" y="1140"/>
                </a:lnTo>
                <a:lnTo>
                  <a:pt x="258" y="1140"/>
                </a:lnTo>
                <a:lnTo>
                  <a:pt x="252" y="1140"/>
                </a:lnTo>
                <a:lnTo>
                  <a:pt x="246" y="1140"/>
                </a:lnTo>
                <a:lnTo>
                  <a:pt x="240" y="1140"/>
                </a:lnTo>
                <a:lnTo>
                  <a:pt x="234" y="1134"/>
                </a:lnTo>
                <a:lnTo>
                  <a:pt x="228" y="1134"/>
                </a:lnTo>
                <a:lnTo>
                  <a:pt x="222" y="1128"/>
                </a:lnTo>
                <a:lnTo>
                  <a:pt x="216" y="1122"/>
                </a:lnTo>
                <a:lnTo>
                  <a:pt x="216" y="1116"/>
                </a:lnTo>
                <a:lnTo>
                  <a:pt x="216" y="1110"/>
                </a:lnTo>
                <a:lnTo>
                  <a:pt x="222" y="1110"/>
                </a:lnTo>
                <a:lnTo>
                  <a:pt x="222" y="1104"/>
                </a:lnTo>
                <a:lnTo>
                  <a:pt x="222" y="1098"/>
                </a:lnTo>
                <a:lnTo>
                  <a:pt x="216" y="1098"/>
                </a:lnTo>
                <a:lnTo>
                  <a:pt x="216" y="1092"/>
                </a:lnTo>
                <a:lnTo>
                  <a:pt x="216" y="1086"/>
                </a:lnTo>
                <a:lnTo>
                  <a:pt x="222" y="1086"/>
                </a:lnTo>
                <a:lnTo>
                  <a:pt x="228" y="1086"/>
                </a:lnTo>
                <a:lnTo>
                  <a:pt x="228" y="1080"/>
                </a:lnTo>
                <a:lnTo>
                  <a:pt x="222" y="1080"/>
                </a:lnTo>
                <a:lnTo>
                  <a:pt x="222" y="1074"/>
                </a:lnTo>
                <a:lnTo>
                  <a:pt x="216" y="1080"/>
                </a:lnTo>
                <a:lnTo>
                  <a:pt x="216" y="1074"/>
                </a:lnTo>
                <a:lnTo>
                  <a:pt x="210" y="1068"/>
                </a:lnTo>
                <a:lnTo>
                  <a:pt x="204" y="1068"/>
                </a:lnTo>
                <a:lnTo>
                  <a:pt x="204" y="1062"/>
                </a:lnTo>
                <a:lnTo>
                  <a:pt x="198" y="1062"/>
                </a:lnTo>
                <a:lnTo>
                  <a:pt x="198" y="1056"/>
                </a:lnTo>
                <a:lnTo>
                  <a:pt x="198" y="1050"/>
                </a:lnTo>
                <a:lnTo>
                  <a:pt x="198" y="1044"/>
                </a:lnTo>
                <a:lnTo>
                  <a:pt x="192" y="1044"/>
                </a:lnTo>
                <a:lnTo>
                  <a:pt x="192" y="1050"/>
                </a:lnTo>
                <a:lnTo>
                  <a:pt x="186" y="1044"/>
                </a:lnTo>
                <a:lnTo>
                  <a:pt x="192" y="1044"/>
                </a:lnTo>
                <a:lnTo>
                  <a:pt x="192" y="1038"/>
                </a:lnTo>
                <a:lnTo>
                  <a:pt x="192" y="1032"/>
                </a:lnTo>
                <a:lnTo>
                  <a:pt x="192" y="1026"/>
                </a:lnTo>
                <a:lnTo>
                  <a:pt x="192" y="1020"/>
                </a:lnTo>
                <a:lnTo>
                  <a:pt x="186" y="1020"/>
                </a:lnTo>
                <a:lnTo>
                  <a:pt x="186" y="1026"/>
                </a:lnTo>
                <a:lnTo>
                  <a:pt x="180" y="1020"/>
                </a:lnTo>
                <a:lnTo>
                  <a:pt x="174" y="1020"/>
                </a:lnTo>
                <a:lnTo>
                  <a:pt x="174" y="1014"/>
                </a:lnTo>
                <a:lnTo>
                  <a:pt x="168" y="1014"/>
                </a:lnTo>
                <a:lnTo>
                  <a:pt x="162" y="1014"/>
                </a:lnTo>
                <a:lnTo>
                  <a:pt x="168" y="1008"/>
                </a:lnTo>
                <a:lnTo>
                  <a:pt x="168" y="1002"/>
                </a:lnTo>
                <a:lnTo>
                  <a:pt x="174" y="996"/>
                </a:lnTo>
                <a:lnTo>
                  <a:pt x="168" y="996"/>
                </a:lnTo>
                <a:lnTo>
                  <a:pt x="168" y="990"/>
                </a:lnTo>
                <a:lnTo>
                  <a:pt x="174" y="990"/>
                </a:lnTo>
                <a:lnTo>
                  <a:pt x="174" y="984"/>
                </a:lnTo>
                <a:lnTo>
                  <a:pt x="180" y="984"/>
                </a:lnTo>
                <a:lnTo>
                  <a:pt x="180" y="978"/>
                </a:lnTo>
                <a:lnTo>
                  <a:pt x="180" y="972"/>
                </a:lnTo>
                <a:lnTo>
                  <a:pt x="174" y="972"/>
                </a:lnTo>
                <a:lnTo>
                  <a:pt x="174" y="966"/>
                </a:lnTo>
                <a:lnTo>
                  <a:pt x="168" y="966"/>
                </a:lnTo>
                <a:lnTo>
                  <a:pt x="168" y="960"/>
                </a:lnTo>
                <a:lnTo>
                  <a:pt x="168" y="954"/>
                </a:lnTo>
                <a:lnTo>
                  <a:pt x="168" y="948"/>
                </a:lnTo>
                <a:lnTo>
                  <a:pt x="162" y="942"/>
                </a:lnTo>
                <a:lnTo>
                  <a:pt x="168" y="942"/>
                </a:lnTo>
                <a:lnTo>
                  <a:pt x="168" y="936"/>
                </a:lnTo>
                <a:lnTo>
                  <a:pt x="168" y="930"/>
                </a:lnTo>
                <a:lnTo>
                  <a:pt x="162" y="930"/>
                </a:lnTo>
                <a:lnTo>
                  <a:pt x="156" y="930"/>
                </a:lnTo>
                <a:lnTo>
                  <a:pt x="150" y="930"/>
                </a:lnTo>
                <a:lnTo>
                  <a:pt x="150" y="924"/>
                </a:lnTo>
                <a:lnTo>
                  <a:pt x="156" y="918"/>
                </a:lnTo>
                <a:lnTo>
                  <a:pt x="150" y="912"/>
                </a:lnTo>
                <a:lnTo>
                  <a:pt x="150" y="906"/>
                </a:lnTo>
                <a:lnTo>
                  <a:pt x="144" y="906"/>
                </a:lnTo>
                <a:lnTo>
                  <a:pt x="144" y="900"/>
                </a:lnTo>
                <a:lnTo>
                  <a:pt x="144" y="894"/>
                </a:lnTo>
                <a:lnTo>
                  <a:pt x="138" y="894"/>
                </a:lnTo>
                <a:lnTo>
                  <a:pt x="138" y="888"/>
                </a:lnTo>
                <a:lnTo>
                  <a:pt x="132" y="888"/>
                </a:lnTo>
                <a:lnTo>
                  <a:pt x="132" y="894"/>
                </a:lnTo>
                <a:lnTo>
                  <a:pt x="126" y="894"/>
                </a:lnTo>
                <a:lnTo>
                  <a:pt x="120" y="894"/>
                </a:lnTo>
                <a:lnTo>
                  <a:pt x="114" y="894"/>
                </a:lnTo>
                <a:lnTo>
                  <a:pt x="108" y="888"/>
                </a:lnTo>
                <a:lnTo>
                  <a:pt x="108" y="882"/>
                </a:lnTo>
                <a:lnTo>
                  <a:pt x="102" y="882"/>
                </a:lnTo>
                <a:lnTo>
                  <a:pt x="102" y="876"/>
                </a:lnTo>
                <a:lnTo>
                  <a:pt x="102" y="870"/>
                </a:lnTo>
                <a:lnTo>
                  <a:pt x="102" y="864"/>
                </a:lnTo>
                <a:lnTo>
                  <a:pt x="108" y="864"/>
                </a:lnTo>
                <a:lnTo>
                  <a:pt x="108" y="858"/>
                </a:lnTo>
                <a:lnTo>
                  <a:pt x="114" y="858"/>
                </a:lnTo>
                <a:lnTo>
                  <a:pt x="114" y="852"/>
                </a:lnTo>
                <a:lnTo>
                  <a:pt x="120" y="852"/>
                </a:lnTo>
                <a:lnTo>
                  <a:pt x="126" y="852"/>
                </a:lnTo>
                <a:lnTo>
                  <a:pt x="132" y="852"/>
                </a:lnTo>
                <a:lnTo>
                  <a:pt x="138" y="852"/>
                </a:lnTo>
                <a:lnTo>
                  <a:pt x="138" y="846"/>
                </a:lnTo>
                <a:lnTo>
                  <a:pt x="144" y="846"/>
                </a:lnTo>
                <a:lnTo>
                  <a:pt x="144" y="840"/>
                </a:lnTo>
                <a:lnTo>
                  <a:pt x="150" y="840"/>
                </a:lnTo>
                <a:lnTo>
                  <a:pt x="150" y="834"/>
                </a:lnTo>
                <a:lnTo>
                  <a:pt x="144" y="834"/>
                </a:lnTo>
                <a:lnTo>
                  <a:pt x="144" y="828"/>
                </a:lnTo>
                <a:lnTo>
                  <a:pt x="138" y="828"/>
                </a:lnTo>
                <a:lnTo>
                  <a:pt x="132" y="828"/>
                </a:lnTo>
                <a:lnTo>
                  <a:pt x="132" y="822"/>
                </a:lnTo>
                <a:lnTo>
                  <a:pt x="126" y="822"/>
                </a:lnTo>
                <a:lnTo>
                  <a:pt x="120" y="822"/>
                </a:lnTo>
                <a:lnTo>
                  <a:pt x="114" y="822"/>
                </a:lnTo>
                <a:lnTo>
                  <a:pt x="108" y="822"/>
                </a:lnTo>
                <a:lnTo>
                  <a:pt x="102" y="822"/>
                </a:lnTo>
                <a:lnTo>
                  <a:pt x="108" y="822"/>
                </a:lnTo>
                <a:lnTo>
                  <a:pt x="108" y="828"/>
                </a:lnTo>
                <a:lnTo>
                  <a:pt x="102" y="828"/>
                </a:lnTo>
                <a:lnTo>
                  <a:pt x="102" y="822"/>
                </a:lnTo>
                <a:lnTo>
                  <a:pt x="96" y="822"/>
                </a:lnTo>
                <a:lnTo>
                  <a:pt x="90" y="822"/>
                </a:lnTo>
                <a:lnTo>
                  <a:pt x="90" y="816"/>
                </a:lnTo>
                <a:lnTo>
                  <a:pt x="84" y="816"/>
                </a:lnTo>
                <a:lnTo>
                  <a:pt x="84" y="810"/>
                </a:lnTo>
                <a:lnTo>
                  <a:pt x="84" y="804"/>
                </a:lnTo>
                <a:lnTo>
                  <a:pt x="84" y="798"/>
                </a:lnTo>
                <a:lnTo>
                  <a:pt x="84" y="792"/>
                </a:lnTo>
                <a:lnTo>
                  <a:pt x="90" y="792"/>
                </a:lnTo>
                <a:lnTo>
                  <a:pt x="96" y="792"/>
                </a:lnTo>
                <a:lnTo>
                  <a:pt x="102" y="792"/>
                </a:lnTo>
                <a:lnTo>
                  <a:pt x="102" y="786"/>
                </a:lnTo>
                <a:lnTo>
                  <a:pt x="108" y="786"/>
                </a:lnTo>
                <a:lnTo>
                  <a:pt x="108" y="780"/>
                </a:lnTo>
                <a:lnTo>
                  <a:pt x="108" y="774"/>
                </a:lnTo>
                <a:lnTo>
                  <a:pt x="108" y="768"/>
                </a:lnTo>
                <a:lnTo>
                  <a:pt x="108" y="762"/>
                </a:lnTo>
                <a:lnTo>
                  <a:pt x="102" y="756"/>
                </a:lnTo>
                <a:lnTo>
                  <a:pt x="96" y="756"/>
                </a:lnTo>
                <a:lnTo>
                  <a:pt x="96" y="762"/>
                </a:lnTo>
                <a:lnTo>
                  <a:pt x="90" y="762"/>
                </a:lnTo>
                <a:lnTo>
                  <a:pt x="90" y="756"/>
                </a:lnTo>
                <a:lnTo>
                  <a:pt x="84" y="756"/>
                </a:lnTo>
                <a:lnTo>
                  <a:pt x="84" y="762"/>
                </a:lnTo>
                <a:lnTo>
                  <a:pt x="78" y="762"/>
                </a:lnTo>
                <a:lnTo>
                  <a:pt x="72" y="762"/>
                </a:lnTo>
                <a:lnTo>
                  <a:pt x="66" y="762"/>
                </a:lnTo>
                <a:lnTo>
                  <a:pt x="60" y="762"/>
                </a:lnTo>
                <a:lnTo>
                  <a:pt x="54" y="762"/>
                </a:lnTo>
                <a:lnTo>
                  <a:pt x="54" y="756"/>
                </a:lnTo>
                <a:lnTo>
                  <a:pt x="48" y="756"/>
                </a:lnTo>
                <a:lnTo>
                  <a:pt x="48" y="750"/>
                </a:lnTo>
                <a:lnTo>
                  <a:pt x="42" y="750"/>
                </a:lnTo>
                <a:lnTo>
                  <a:pt x="48" y="750"/>
                </a:lnTo>
                <a:lnTo>
                  <a:pt x="42" y="750"/>
                </a:lnTo>
                <a:lnTo>
                  <a:pt x="42" y="744"/>
                </a:lnTo>
                <a:lnTo>
                  <a:pt x="42" y="738"/>
                </a:lnTo>
                <a:lnTo>
                  <a:pt x="36" y="732"/>
                </a:lnTo>
                <a:lnTo>
                  <a:pt x="36" y="726"/>
                </a:lnTo>
                <a:lnTo>
                  <a:pt x="36" y="720"/>
                </a:lnTo>
                <a:lnTo>
                  <a:pt x="30" y="720"/>
                </a:lnTo>
                <a:lnTo>
                  <a:pt x="30" y="714"/>
                </a:lnTo>
                <a:lnTo>
                  <a:pt x="36" y="708"/>
                </a:lnTo>
                <a:lnTo>
                  <a:pt x="36" y="702"/>
                </a:lnTo>
                <a:lnTo>
                  <a:pt x="42" y="702"/>
                </a:lnTo>
                <a:lnTo>
                  <a:pt x="48" y="696"/>
                </a:lnTo>
                <a:lnTo>
                  <a:pt x="48" y="690"/>
                </a:lnTo>
                <a:lnTo>
                  <a:pt x="48" y="684"/>
                </a:lnTo>
                <a:lnTo>
                  <a:pt x="42" y="684"/>
                </a:lnTo>
                <a:lnTo>
                  <a:pt x="36" y="684"/>
                </a:lnTo>
                <a:lnTo>
                  <a:pt x="36" y="678"/>
                </a:lnTo>
                <a:lnTo>
                  <a:pt x="30" y="678"/>
                </a:lnTo>
                <a:lnTo>
                  <a:pt x="24" y="678"/>
                </a:lnTo>
                <a:lnTo>
                  <a:pt x="24" y="672"/>
                </a:lnTo>
                <a:lnTo>
                  <a:pt x="24" y="666"/>
                </a:lnTo>
                <a:lnTo>
                  <a:pt x="30" y="666"/>
                </a:lnTo>
                <a:lnTo>
                  <a:pt x="30" y="660"/>
                </a:lnTo>
                <a:lnTo>
                  <a:pt x="30" y="654"/>
                </a:lnTo>
                <a:lnTo>
                  <a:pt x="36" y="654"/>
                </a:lnTo>
                <a:lnTo>
                  <a:pt x="36" y="648"/>
                </a:lnTo>
                <a:lnTo>
                  <a:pt x="30" y="648"/>
                </a:lnTo>
                <a:lnTo>
                  <a:pt x="24" y="648"/>
                </a:lnTo>
                <a:lnTo>
                  <a:pt x="24" y="642"/>
                </a:lnTo>
                <a:lnTo>
                  <a:pt x="30" y="642"/>
                </a:lnTo>
                <a:lnTo>
                  <a:pt x="30" y="636"/>
                </a:lnTo>
                <a:lnTo>
                  <a:pt x="36" y="636"/>
                </a:lnTo>
                <a:lnTo>
                  <a:pt x="42" y="636"/>
                </a:lnTo>
                <a:lnTo>
                  <a:pt x="42" y="630"/>
                </a:lnTo>
                <a:lnTo>
                  <a:pt x="36" y="630"/>
                </a:lnTo>
                <a:lnTo>
                  <a:pt x="36" y="624"/>
                </a:lnTo>
                <a:lnTo>
                  <a:pt x="30" y="624"/>
                </a:lnTo>
                <a:lnTo>
                  <a:pt x="30" y="618"/>
                </a:lnTo>
                <a:lnTo>
                  <a:pt x="36" y="618"/>
                </a:lnTo>
                <a:lnTo>
                  <a:pt x="36" y="612"/>
                </a:lnTo>
                <a:lnTo>
                  <a:pt x="30" y="612"/>
                </a:lnTo>
                <a:lnTo>
                  <a:pt x="24" y="612"/>
                </a:lnTo>
                <a:lnTo>
                  <a:pt x="18" y="612"/>
                </a:lnTo>
                <a:lnTo>
                  <a:pt x="12" y="612"/>
                </a:lnTo>
                <a:lnTo>
                  <a:pt x="12" y="618"/>
                </a:lnTo>
                <a:lnTo>
                  <a:pt x="12" y="612"/>
                </a:lnTo>
                <a:lnTo>
                  <a:pt x="12" y="606"/>
                </a:lnTo>
                <a:lnTo>
                  <a:pt x="18" y="606"/>
                </a:lnTo>
                <a:lnTo>
                  <a:pt x="24" y="606"/>
                </a:lnTo>
                <a:lnTo>
                  <a:pt x="24" y="600"/>
                </a:lnTo>
                <a:lnTo>
                  <a:pt x="18" y="600"/>
                </a:lnTo>
                <a:lnTo>
                  <a:pt x="12" y="600"/>
                </a:lnTo>
                <a:lnTo>
                  <a:pt x="12" y="594"/>
                </a:lnTo>
                <a:lnTo>
                  <a:pt x="18" y="588"/>
                </a:lnTo>
                <a:lnTo>
                  <a:pt x="18" y="582"/>
                </a:lnTo>
                <a:lnTo>
                  <a:pt x="18" y="576"/>
                </a:lnTo>
                <a:lnTo>
                  <a:pt x="18" y="570"/>
                </a:lnTo>
                <a:lnTo>
                  <a:pt x="18" y="564"/>
                </a:lnTo>
                <a:lnTo>
                  <a:pt x="18" y="558"/>
                </a:lnTo>
                <a:lnTo>
                  <a:pt x="18" y="552"/>
                </a:lnTo>
                <a:lnTo>
                  <a:pt x="12" y="546"/>
                </a:lnTo>
                <a:lnTo>
                  <a:pt x="12" y="540"/>
                </a:lnTo>
                <a:lnTo>
                  <a:pt x="6" y="540"/>
                </a:lnTo>
                <a:lnTo>
                  <a:pt x="6" y="534"/>
                </a:lnTo>
                <a:lnTo>
                  <a:pt x="0" y="534"/>
                </a:lnTo>
                <a:lnTo>
                  <a:pt x="0" y="528"/>
                </a:lnTo>
                <a:lnTo>
                  <a:pt x="6" y="528"/>
                </a:lnTo>
                <a:lnTo>
                  <a:pt x="12" y="528"/>
                </a:lnTo>
                <a:lnTo>
                  <a:pt x="18" y="528"/>
                </a:lnTo>
                <a:lnTo>
                  <a:pt x="18" y="522"/>
                </a:lnTo>
                <a:lnTo>
                  <a:pt x="12" y="522"/>
                </a:lnTo>
                <a:lnTo>
                  <a:pt x="6" y="522"/>
                </a:lnTo>
                <a:lnTo>
                  <a:pt x="0" y="516"/>
                </a:lnTo>
                <a:lnTo>
                  <a:pt x="0" y="510"/>
                </a:lnTo>
                <a:lnTo>
                  <a:pt x="0" y="504"/>
                </a:lnTo>
                <a:lnTo>
                  <a:pt x="6" y="504"/>
                </a:lnTo>
                <a:lnTo>
                  <a:pt x="6" y="498"/>
                </a:lnTo>
                <a:lnTo>
                  <a:pt x="12" y="492"/>
                </a:lnTo>
                <a:lnTo>
                  <a:pt x="12" y="486"/>
                </a:lnTo>
                <a:lnTo>
                  <a:pt x="12" y="480"/>
                </a:lnTo>
                <a:lnTo>
                  <a:pt x="12" y="474"/>
                </a:lnTo>
                <a:lnTo>
                  <a:pt x="18" y="474"/>
                </a:lnTo>
                <a:lnTo>
                  <a:pt x="24" y="468"/>
                </a:lnTo>
                <a:lnTo>
                  <a:pt x="30" y="468"/>
                </a:lnTo>
                <a:lnTo>
                  <a:pt x="30" y="462"/>
                </a:lnTo>
                <a:lnTo>
                  <a:pt x="24" y="462"/>
                </a:lnTo>
                <a:lnTo>
                  <a:pt x="24" y="456"/>
                </a:lnTo>
                <a:lnTo>
                  <a:pt x="24" y="450"/>
                </a:lnTo>
                <a:lnTo>
                  <a:pt x="24" y="444"/>
                </a:lnTo>
                <a:lnTo>
                  <a:pt x="18" y="438"/>
                </a:lnTo>
                <a:lnTo>
                  <a:pt x="18" y="432"/>
                </a:lnTo>
                <a:lnTo>
                  <a:pt x="18" y="426"/>
                </a:lnTo>
                <a:lnTo>
                  <a:pt x="24" y="426"/>
                </a:lnTo>
                <a:lnTo>
                  <a:pt x="24" y="420"/>
                </a:lnTo>
                <a:lnTo>
                  <a:pt x="24" y="414"/>
                </a:lnTo>
                <a:lnTo>
                  <a:pt x="30" y="414"/>
                </a:lnTo>
                <a:lnTo>
                  <a:pt x="30" y="408"/>
                </a:lnTo>
                <a:lnTo>
                  <a:pt x="36" y="408"/>
                </a:lnTo>
                <a:lnTo>
                  <a:pt x="36" y="402"/>
                </a:lnTo>
                <a:lnTo>
                  <a:pt x="36" y="396"/>
                </a:lnTo>
                <a:lnTo>
                  <a:pt x="42" y="396"/>
                </a:lnTo>
                <a:lnTo>
                  <a:pt x="48" y="396"/>
                </a:lnTo>
                <a:lnTo>
                  <a:pt x="48" y="390"/>
                </a:lnTo>
                <a:lnTo>
                  <a:pt x="42" y="390"/>
                </a:lnTo>
                <a:lnTo>
                  <a:pt x="42" y="384"/>
                </a:lnTo>
                <a:lnTo>
                  <a:pt x="48" y="384"/>
                </a:lnTo>
                <a:lnTo>
                  <a:pt x="48" y="378"/>
                </a:lnTo>
                <a:lnTo>
                  <a:pt x="54" y="378"/>
                </a:lnTo>
                <a:lnTo>
                  <a:pt x="54" y="372"/>
                </a:lnTo>
                <a:lnTo>
                  <a:pt x="60" y="372"/>
                </a:lnTo>
                <a:lnTo>
                  <a:pt x="60" y="366"/>
                </a:lnTo>
                <a:lnTo>
                  <a:pt x="66" y="366"/>
                </a:lnTo>
                <a:lnTo>
                  <a:pt x="66" y="360"/>
                </a:lnTo>
                <a:lnTo>
                  <a:pt x="72" y="360"/>
                </a:lnTo>
                <a:lnTo>
                  <a:pt x="78" y="354"/>
                </a:lnTo>
                <a:lnTo>
                  <a:pt x="84" y="348"/>
                </a:lnTo>
                <a:lnTo>
                  <a:pt x="90" y="348"/>
                </a:lnTo>
                <a:lnTo>
                  <a:pt x="96" y="348"/>
                </a:lnTo>
                <a:lnTo>
                  <a:pt x="102" y="348"/>
                </a:lnTo>
                <a:lnTo>
                  <a:pt x="108" y="342"/>
                </a:lnTo>
                <a:lnTo>
                  <a:pt x="114" y="336"/>
                </a:lnTo>
                <a:lnTo>
                  <a:pt x="120" y="336"/>
                </a:lnTo>
                <a:lnTo>
                  <a:pt x="120" y="330"/>
                </a:lnTo>
                <a:lnTo>
                  <a:pt x="120" y="324"/>
                </a:lnTo>
                <a:lnTo>
                  <a:pt x="120" y="318"/>
                </a:lnTo>
                <a:lnTo>
                  <a:pt x="120" y="312"/>
                </a:lnTo>
                <a:lnTo>
                  <a:pt x="114" y="312"/>
                </a:lnTo>
                <a:lnTo>
                  <a:pt x="114" y="306"/>
                </a:lnTo>
                <a:lnTo>
                  <a:pt x="120" y="306"/>
                </a:lnTo>
                <a:lnTo>
                  <a:pt x="120" y="300"/>
                </a:lnTo>
                <a:lnTo>
                  <a:pt x="126" y="300"/>
                </a:lnTo>
                <a:lnTo>
                  <a:pt x="132" y="300"/>
                </a:lnTo>
                <a:lnTo>
                  <a:pt x="132" y="294"/>
                </a:lnTo>
                <a:lnTo>
                  <a:pt x="138" y="294"/>
                </a:lnTo>
                <a:lnTo>
                  <a:pt x="150" y="288"/>
                </a:lnTo>
                <a:lnTo>
                  <a:pt x="156" y="282"/>
                </a:lnTo>
                <a:lnTo>
                  <a:pt x="162" y="276"/>
                </a:lnTo>
                <a:lnTo>
                  <a:pt x="168" y="276"/>
                </a:lnTo>
                <a:lnTo>
                  <a:pt x="174" y="276"/>
                </a:lnTo>
                <a:lnTo>
                  <a:pt x="180" y="276"/>
                </a:lnTo>
                <a:lnTo>
                  <a:pt x="186" y="276"/>
                </a:lnTo>
                <a:lnTo>
                  <a:pt x="192" y="270"/>
                </a:lnTo>
                <a:lnTo>
                  <a:pt x="192" y="264"/>
                </a:lnTo>
                <a:lnTo>
                  <a:pt x="198" y="258"/>
                </a:lnTo>
                <a:lnTo>
                  <a:pt x="198" y="252"/>
                </a:lnTo>
                <a:lnTo>
                  <a:pt x="198" y="246"/>
                </a:lnTo>
                <a:lnTo>
                  <a:pt x="204" y="240"/>
                </a:lnTo>
                <a:lnTo>
                  <a:pt x="210" y="234"/>
                </a:lnTo>
                <a:lnTo>
                  <a:pt x="210" y="228"/>
                </a:lnTo>
                <a:lnTo>
                  <a:pt x="210" y="222"/>
                </a:lnTo>
                <a:lnTo>
                  <a:pt x="216" y="210"/>
                </a:lnTo>
                <a:lnTo>
                  <a:pt x="216" y="204"/>
                </a:lnTo>
                <a:lnTo>
                  <a:pt x="216" y="198"/>
                </a:lnTo>
                <a:lnTo>
                  <a:pt x="216" y="192"/>
                </a:lnTo>
                <a:lnTo>
                  <a:pt x="222" y="192"/>
                </a:lnTo>
                <a:lnTo>
                  <a:pt x="222" y="186"/>
                </a:lnTo>
                <a:lnTo>
                  <a:pt x="228" y="186"/>
                </a:lnTo>
                <a:lnTo>
                  <a:pt x="228" y="180"/>
                </a:lnTo>
                <a:lnTo>
                  <a:pt x="234" y="174"/>
                </a:lnTo>
                <a:lnTo>
                  <a:pt x="234" y="168"/>
                </a:lnTo>
                <a:lnTo>
                  <a:pt x="240" y="168"/>
                </a:lnTo>
                <a:lnTo>
                  <a:pt x="240" y="162"/>
                </a:lnTo>
                <a:lnTo>
                  <a:pt x="246" y="162"/>
                </a:lnTo>
                <a:lnTo>
                  <a:pt x="246" y="156"/>
                </a:lnTo>
                <a:lnTo>
                  <a:pt x="252" y="156"/>
                </a:lnTo>
                <a:lnTo>
                  <a:pt x="252" y="162"/>
                </a:lnTo>
                <a:lnTo>
                  <a:pt x="258" y="162"/>
                </a:lnTo>
                <a:lnTo>
                  <a:pt x="264" y="162"/>
                </a:lnTo>
                <a:lnTo>
                  <a:pt x="264" y="156"/>
                </a:lnTo>
                <a:lnTo>
                  <a:pt x="258" y="150"/>
                </a:lnTo>
                <a:lnTo>
                  <a:pt x="258" y="144"/>
                </a:lnTo>
                <a:lnTo>
                  <a:pt x="264" y="144"/>
                </a:lnTo>
                <a:lnTo>
                  <a:pt x="264" y="138"/>
                </a:lnTo>
                <a:lnTo>
                  <a:pt x="264" y="132"/>
                </a:lnTo>
                <a:lnTo>
                  <a:pt x="270" y="126"/>
                </a:lnTo>
                <a:lnTo>
                  <a:pt x="276" y="126"/>
                </a:lnTo>
                <a:lnTo>
                  <a:pt x="276" y="120"/>
                </a:lnTo>
                <a:lnTo>
                  <a:pt x="276" y="114"/>
                </a:lnTo>
                <a:lnTo>
                  <a:pt x="276" y="108"/>
                </a:lnTo>
                <a:lnTo>
                  <a:pt x="276" y="102"/>
                </a:lnTo>
                <a:lnTo>
                  <a:pt x="276" y="96"/>
                </a:lnTo>
                <a:lnTo>
                  <a:pt x="276" y="90"/>
                </a:lnTo>
                <a:lnTo>
                  <a:pt x="282" y="90"/>
                </a:lnTo>
                <a:lnTo>
                  <a:pt x="282" y="84"/>
                </a:lnTo>
                <a:lnTo>
                  <a:pt x="282" y="78"/>
                </a:lnTo>
                <a:lnTo>
                  <a:pt x="276" y="78"/>
                </a:lnTo>
                <a:lnTo>
                  <a:pt x="276" y="72"/>
                </a:lnTo>
                <a:lnTo>
                  <a:pt x="276" y="66"/>
                </a:lnTo>
                <a:lnTo>
                  <a:pt x="276" y="60"/>
                </a:lnTo>
                <a:lnTo>
                  <a:pt x="282" y="54"/>
                </a:lnTo>
                <a:lnTo>
                  <a:pt x="282" y="48"/>
                </a:lnTo>
                <a:lnTo>
                  <a:pt x="282" y="42"/>
                </a:lnTo>
                <a:lnTo>
                  <a:pt x="282" y="36"/>
                </a:lnTo>
                <a:lnTo>
                  <a:pt x="282" y="30"/>
                </a:lnTo>
                <a:lnTo>
                  <a:pt x="288" y="36"/>
                </a:lnTo>
                <a:lnTo>
                  <a:pt x="288" y="42"/>
                </a:lnTo>
                <a:lnTo>
                  <a:pt x="294" y="48"/>
                </a:lnTo>
                <a:lnTo>
                  <a:pt x="300" y="48"/>
                </a:lnTo>
                <a:lnTo>
                  <a:pt x="300" y="42"/>
                </a:lnTo>
                <a:lnTo>
                  <a:pt x="306" y="42"/>
                </a:lnTo>
                <a:lnTo>
                  <a:pt x="306" y="48"/>
                </a:lnTo>
                <a:lnTo>
                  <a:pt x="312" y="48"/>
                </a:lnTo>
                <a:lnTo>
                  <a:pt x="318" y="48"/>
                </a:lnTo>
                <a:lnTo>
                  <a:pt x="324" y="48"/>
                </a:lnTo>
                <a:lnTo>
                  <a:pt x="330" y="48"/>
                </a:lnTo>
                <a:lnTo>
                  <a:pt x="330" y="42"/>
                </a:lnTo>
                <a:lnTo>
                  <a:pt x="336" y="42"/>
                </a:lnTo>
                <a:lnTo>
                  <a:pt x="336" y="36"/>
                </a:lnTo>
                <a:lnTo>
                  <a:pt x="336" y="30"/>
                </a:lnTo>
                <a:lnTo>
                  <a:pt x="342" y="36"/>
                </a:lnTo>
                <a:lnTo>
                  <a:pt x="342" y="30"/>
                </a:lnTo>
                <a:lnTo>
                  <a:pt x="348" y="36"/>
                </a:lnTo>
                <a:lnTo>
                  <a:pt x="348" y="30"/>
                </a:lnTo>
                <a:lnTo>
                  <a:pt x="354" y="30"/>
                </a:lnTo>
                <a:lnTo>
                  <a:pt x="354" y="24"/>
                </a:lnTo>
                <a:lnTo>
                  <a:pt x="360" y="24"/>
                </a:lnTo>
                <a:lnTo>
                  <a:pt x="360" y="18"/>
                </a:lnTo>
                <a:lnTo>
                  <a:pt x="366" y="12"/>
                </a:lnTo>
                <a:lnTo>
                  <a:pt x="366" y="6"/>
                </a:lnTo>
                <a:lnTo>
                  <a:pt x="372" y="6"/>
                </a:lnTo>
                <a:lnTo>
                  <a:pt x="372" y="0"/>
                </a:lnTo>
                <a:lnTo>
                  <a:pt x="378" y="0"/>
                </a:lnTo>
                <a:lnTo>
                  <a:pt x="384" y="0"/>
                </a:lnTo>
                <a:lnTo>
                  <a:pt x="390" y="0"/>
                </a:lnTo>
                <a:lnTo>
                  <a:pt x="390" y="6"/>
                </a:lnTo>
                <a:lnTo>
                  <a:pt x="396" y="6"/>
                </a:lnTo>
                <a:lnTo>
                  <a:pt x="402" y="0"/>
                </a:lnTo>
                <a:lnTo>
                  <a:pt x="402" y="6"/>
                </a:lnTo>
                <a:lnTo>
                  <a:pt x="408" y="6"/>
                </a:lnTo>
                <a:lnTo>
                  <a:pt x="414" y="6"/>
                </a:lnTo>
                <a:lnTo>
                  <a:pt x="420" y="6"/>
                </a:lnTo>
                <a:lnTo>
                  <a:pt x="426" y="6"/>
                </a:lnTo>
                <a:lnTo>
                  <a:pt x="426" y="12"/>
                </a:lnTo>
                <a:lnTo>
                  <a:pt x="426" y="18"/>
                </a:lnTo>
                <a:lnTo>
                  <a:pt x="426" y="24"/>
                </a:lnTo>
                <a:lnTo>
                  <a:pt x="426" y="30"/>
                </a:lnTo>
                <a:lnTo>
                  <a:pt x="432" y="30"/>
                </a:lnTo>
                <a:lnTo>
                  <a:pt x="438" y="30"/>
                </a:lnTo>
                <a:lnTo>
                  <a:pt x="444" y="30"/>
                </a:lnTo>
                <a:lnTo>
                  <a:pt x="444" y="36"/>
                </a:lnTo>
                <a:lnTo>
                  <a:pt x="450" y="36"/>
                </a:lnTo>
                <a:lnTo>
                  <a:pt x="450" y="30"/>
                </a:lnTo>
                <a:lnTo>
                  <a:pt x="450" y="36"/>
                </a:lnTo>
                <a:lnTo>
                  <a:pt x="456" y="36"/>
                </a:lnTo>
                <a:lnTo>
                  <a:pt x="456" y="42"/>
                </a:lnTo>
                <a:lnTo>
                  <a:pt x="450" y="42"/>
                </a:lnTo>
                <a:lnTo>
                  <a:pt x="450" y="48"/>
                </a:lnTo>
                <a:lnTo>
                  <a:pt x="450" y="54"/>
                </a:lnTo>
                <a:lnTo>
                  <a:pt x="450" y="60"/>
                </a:lnTo>
                <a:lnTo>
                  <a:pt x="444" y="66"/>
                </a:lnTo>
                <a:lnTo>
                  <a:pt x="444" y="72"/>
                </a:lnTo>
                <a:lnTo>
                  <a:pt x="444" y="78"/>
                </a:lnTo>
                <a:lnTo>
                  <a:pt x="444" y="84"/>
                </a:lnTo>
                <a:lnTo>
                  <a:pt x="444" y="90"/>
                </a:lnTo>
                <a:lnTo>
                  <a:pt x="444" y="96"/>
                </a:lnTo>
                <a:lnTo>
                  <a:pt x="438" y="96"/>
                </a:lnTo>
                <a:lnTo>
                  <a:pt x="438" y="102"/>
                </a:lnTo>
                <a:lnTo>
                  <a:pt x="432" y="102"/>
                </a:lnTo>
                <a:lnTo>
                  <a:pt x="432" y="108"/>
                </a:lnTo>
                <a:lnTo>
                  <a:pt x="438" y="108"/>
                </a:lnTo>
                <a:lnTo>
                  <a:pt x="444" y="108"/>
                </a:lnTo>
                <a:lnTo>
                  <a:pt x="450" y="108"/>
                </a:lnTo>
                <a:lnTo>
                  <a:pt x="456" y="108"/>
                </a:lnTo>
                <a:lnTo>
                  <a:pt x="462" y="108"/>
                </a:lnTo>
                <a:lnTo>
                  <a:pt x="468" y="108"/>
                </a:lnTo>
                <a:lnTo>
                  <a:pt x="474" y="108"/>
                </a:lnTo>
                <a:lnTo>
                  <a:pt x="480" y="114"/>
                </a:lnTo>
                <a:lnTo>
                  <a:pt x="480" y="120"/>
                </a:lnTo>
                <a:lnTo>
                  <a:pt x="486" y="120"/>
                </a:lnTo>
                <a:lnTo>
                  <a:pt x="486" y="126"/>
                </a:lnTo>
                <a:lnTo>
                  <a:pt x="492" y="126"/>
                </a:lnTo>
                <a:lnTo>
                  <a:pt x="492" y="132"/>
                </a:lnTo>
                <a:lnTo>
                  <a:pt x="492" y="138"/>
                </a:lnTo>
                <a:lnTo>
                  <a:pt x="498" y="138"/>
                </a:lnTo>
                <a:lnTo>
                  <a:pt x="504" y="138"/>
                </a:lnTo>
                <a:lnTo>
                  <a:pt x="504" y="132"/>
                </a:lnTo>
                <a:lnTo>
                  <a:pt x="510" y="132"/>
                </a:lnTo>
                <a:lnTo>
                  <a:pt x="516" y="132"/>
                </a:lnTo>
                <a:lnTo>
                  <a:pt x="516" y="138"/>
                </a:lnTo>
                <a:lnTo>
                  <a:pt x="516" y="132"/>
                </a:lnTo>
                <a:lnTo>
                  <a:pt x="516" y="138"/>
                </a:lnTo>
                <a:lnTo>
                  <a:pt x="522" y="138"/>
                </a:lnTo>
                <a:lnTo>
                  <a:pt x="522" y="132"/>
                </a:lnTo>
                <a:lnTo>
                  <a:pt x="528" y="138"/>
                </a:lnTo>
                <a:lnTo>
                  <a:pt x="528" y="132"/>
                </a:lnTo>
                <a:lnTo>
                  <a:pt x="528" y="138"/>
                </a:lnTo>
                <a:lnTo>
                  <a:pt x="534" y="138"/>
                </a:lnTo>
                <a:lnTo>
                  <a:pt x="540" y="138"/>
                </a:lnTo>
                <a:lnTo>
                  <a:pt x="546" y="138"/>
                </a:lnTo>
                <a:lnTo>
                  <a:pt x="552" y="138"/>
                </a:lnTo>
                <a:lnTo>
                  <a:pt x="558" y="138"/>
                </a:lnTo>
                <a:lnTo>
                  <a:pt x="558" y="144"/>
                </a:lnTo>
                <a:lnTo>
                  <a:pt x="564" y="144"/>
                </a:lnTo>
                <a:lnTo>
                  <a:pt x="570" y="144"/>
                </a:lnTo>
                <a:lnTo>
                  <a:pt x="570" y="150"/>
                </a:lnTo>
                <a:lnTo>
                  <a:pt x="576" y="150"/>
                </a:lnTo>
                <a:lnTo>
                  <a:pt x="576" y="156"/>
                </a:lnTo>
                <a:lnTo>
                  <a:pt x="582" y="156"/>
                </a:lnTo>
                <a:lnTo>
                  <a:pt x="582" y="150"/>
                </a:lnTo>
                <a:lnTo>
                  <a:pt x="588" y="150"/>
                </a:lnTo>
                <a:lnTo>
                  <a:pt x="594" y="150"/>
                </a:lnTo>
                <a:lnTo>
                  <a:pt x="594" y="144"/>
                </a:lnTo>
                <a:lnTo>
                  <a:pt x="600" y="144"/>
                </a:lnTo>
                <a:lnTo>
                  <a:pt x="606" y="144"/>
                </a:lnTo>
                <a:lnTo>
                  <a:pt x="606" y="150"/>
                </a:lnTo>
                <a:lnTo>
                  <a:pt x="612" y="150"/>
                </a:lnTo>
                <a:lnTo>
                  <a:pt x="612" y="156"/>
                </a:lnTo>
                <a:lnTo>
                  <a:pt x="618" y="156"/>
                </a:lnTo>
                <a:lnTo>
                  <a:pt x="612" y="150"/>
                </a:lnTo>
                <a:lnTo>
                  <a:pt x="618" y="150"/>
                </a:lnTo>
                <a:lnTo>
                  <a:pt x="612" y="150"/>
                </a:lnTo>
                <a:lnTo>
                  <a:pt x="618" y="150"/>
                </a:lnTo>
                <a:lnTo>
                  <a:pt x="618" y="144"/>
                </a:lnTo>
                <a:lnTo>
                  <a:pt x="624" y="144"/>
                </a:lnTo>
                <a:lnTo>
                  <a:pt x="624" y="150"/>
                </a:lnTo>
                <a:lnTo>
                  <a:pt x="624" y="144"/>
                </a:lnTo>
                <a:lnTo>
                  <a:pt x="624" y="150"/>
                </a:lnTo>
                <a:lnTo>
                  <a:pt x="630" y="150"/>
                </a:lnTo>
                <a:lnTo>
                  <a:pt x="636" y="144"/>
                </a:lnTo>
                <a:lnTo>
                  <a:pt x="636" y="150"/>
                </a:lnTo>
                <a:lnTo>
                  <a:pt x="642" y="150"/>
                </a:lnTo>
                <a:lnTo>
                  <a:pt x="642" y="156"/>
                </a:lnTo>
                <a:lnTo>
                  <a:pt x="642" y="162"/>
                </a:lnTo>
                <a:lnTo>
                  <a:pt x="642" y="168"/>
                </a:lnTo>
                <a:lnTo>
                  <a:pt x="648" y="168"/>
                </a:lnTo>
                <a:lnTo>
                  <a:pt x="642" y="168"/>
                </a:lnTo>
                <a:lnTo>
                  <a:pt x="636" y="168"/>
                </a:lnTo>
                <a:lnTo>
                  <a:pt x="636" y="174"/>
                </a:lnTo>
                <a:lnTo>
                  <a:pt x="636" y="180"/>
                </a:lnTo>
                <a:lnTo>
                  <a:pt x="642" y="180"/>
                </a:lnTo>
                <a:lnTo>
                  <a:pt x="648" y="186"/>
                </a:lnTo>
                <a:lnTo>
                  <a:pt x="648" y="192"/>
                </a:lnTo>
                <a:lnTo>
                  <a:pt x="642" y="192"/>
                </a:lnTo>
                <a:lnTo>
                  <a:pt x="648" y="192"/>
                </a:lnTo>
                <a:lnTo>
                  <a:pt x="648" y="198"/>
                </a:lnTo>
                <a:lnTo>
                  <a:pt x="642" y="198"/>
                </a:lnTo>
                <a:lnTo>
                  <a:pt x="648" y="198"/>
                </a:lnTo>
                <a:lnTo>
                  <a:pt x="648" y="204"/>
                </a:lnTo>
                <a:lnTo>
                  <a:pt x="654" y="204"/>
                </a:lnTo>
                <a:lnTo>
                  <a:pt x="654" y="198"/>
                </a:lnTo>
                <a:lnTo>
                  <a:pt x="660" y="198"/>
                </a:lnTo>
                <a:lnTo>
                  <a:pt x="666" y="198"/>
                </a:lnTo>
                <a:lnTo>
                  <a:pt x="666" y="192"/>
                </a:lnTo>
                <a:lnTo>
                  <a:pt x="666" y="198"/>
                </a:lnTo>
                <a:lnTo>
                  <a:pt x="672" y="198"/>
                </a:lnTo>
                <a:lnTo>
                  <a:pt x="666" y="204"/>
                </a:lnTo>
                <a:lnTo>
                  <a:pt x="666" y="210"/>
                </a:lnTo>
                <a:lnTo>
                  <a:pt x="660" y="210"/>
                </a:lnTo>
                <a:lnTo>
                  <a:pt x="660" y="216"/>
                </a:lnTo>
                <a:lnTo>
                  <a:pt x="654" y="216"/>
                </a:lnTo>
                <a:lnTo>
                  <a:pt x="648" y="216"/>
                </a:lnTo>
                <a:lnTo>
                  <a:pt x="642" y="216"/>
                </a:lnTo>
                <a:lnTo>
                  <a:pt x="642" y="222"/>
                </a:lnTo>
                <a:lnTo>
                  <a:pt x="636" y="222"/>
                </a:lnTo>
                <a:lnTo>
                  <a:pt x="642" y="222"/>
                </a:lnTo>
                <a:lnTo>
                  <a:pt x="648" y="222"/>
                </a:lnTo>
                <a:lnTo>
                  <a:pt x="654" y="222"/>
                </a:lnTo>
                <a:lnTo>
                  <a:pt x="660" y="222"/>
                </a:lnTo>
                <a:lnTo>
                  <a:pt x="660" y="216"/>
                </a:lnTo>
                <a:lnTo>
                  <a:pt x="666" y="216"/>
                </a:lnTo>
                <a:lnTo>
                  <a:pt x="672" y="216"/>
                </a:lnTo>
                <a:lnTo>
                  <a:pt x="678" y="216"/>
                </a:lnTo>
                <a:lnTo>
                  <a:pt x="678" y="222"/>
                </a:lnTo>
                <a:lnTo>
                  <a:pt x="672" y="222"/>
                </a:lnTo>
                <a:lnTo>
                  <a:pt x="672" y="228"/>
                </a:lnTo>
                <a:lnTo>
                  <a:pt x="666" y="228"/>
                </a:lnTo>
                <a:lnTo>
                  <a:pt x="666" y="234"/>
                </a:lnTo>
                <a:lnTo>
                  <a:pt x="672" y="234"/>
                </a:lnTo>
                <a:lnTo>
                  <a:pt x="666" y="234"/>
                </a:lnTo>
                <a:lnTo>
                  <a:pt x="666" y="240"/>
                </a:lnTo>
                <a:lnTo>
                  <a:pt x="660" y="246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54" y="240"/>
                </a:lnTo>
                <a:lnTo>
                  <a:pt x="648" y="240"/>
                </a:lnTo>
                <a:lnTo>
                  <a:pt x="648" y="234"/>
                </a:lnTo>
                <a:lnTo>
                  <a:pt x="642" y="234"/>
                </a:lnTo>
                <a:lnTo>
                  <a:pt x="642" y="240"/>
                </a:lnTo>
                <a:lnTo>
                  <a:pt x="642" y="246"/>
                </a:lnTo>
                <a:lnTo>
                  <a:pt x="636" y="246"/>
                </a:lnTo>
                <a:lnTo>
                  <a:pt x="630" y="246"/>
                </a:lnTo>
                <a:lnTo>
                  <a:pt x="624" y="240"/>
                </a:lnTo>
                <a:lnTo>
                  <a:pt x="618" y="240"/>
                </a:lnTo>
                <a:lnTo>
                  <a:pt x="612" y="240"/>
                </a:lnTo>
                <a:lnTo>
                  <a:pt x="612" y="246"/>
                </a:lnTo>
                <a:lnTo>
                  <a:pt x="618" y="246"/>
                </a:lnTo>
                <a:lnTo>
                  <a:pt x="618" y="252"/>
                </a:lnTo>
                <a:lnTo>
                  <a:pt x="624" y="252"/>
                </a:lnTo>
                <a:lnTo>
                  <a:pt x="618" y="252"/>
                </a:lnTo>
                <a:lnTo>
                  <a:pt x="618" y="258"/>
                </a:lnTo>
                <a:lnTo>
                  <a:pt x="624" y="258"/>
                </a:lnTo>
                <a:lnTo>
                  <a:pt x="624" y="264"/>
                </a:lnTo>
                <a:lnTo>
                  <a:pt x="624" y="270"/>
                </a:lnTo>
                <a:lnTo>
                  <a:pt x="618" y="270"/>
                </a:lnTo>
                <a:lnTo>
                  <a:pt x="618" y="276"/>
                </a:lnTo>
                <a:lnTo>
                  <a:pt x="612" y="276"/>
                </a:lnTo>
                <a:lnTo>
                  <a:pt x="606" y="276"/>
                </a:lnTo>
                <a:lnTo>
                  <a:pt x="600" y="276"/>
                </a:lnTo>
                <a:lnTo>
                  <a:pt x="600" y="282"/>
                </a:lnTo>
                <a:lnTo>
                  <a:pt x="600" y="288"/>
                </a:lnTo>
                <a:lnTo>
                  <a:pt x="600" y="294"/>
                </a:lnTo>
                <a:lnTo>
                  <a:pt x="600" y="300"/>
                </a:lnTo>
                <a:lnTo>
                  <a:pt x="606" y="300"/>
                </a:lnTo>
                <a:lnTo>
                  <a:pt x="612" y="294"/>
                </a:lnTo>
                <a:lnTo>
                  <a:pt x="618" y="294"/>
                </a:lnTo>
                <a:lnTo>
                  <a:pt x="618" y="300"/>
                </a:lnTo>
                <a:lnTo>
                  <a:pt x="624" y="300"/>
                </a:lnTo>
                <a:lnTo>
                  <a:pt x="630" y="300"/>
                </a:lnTo>
                <a:lnTo>
                  <a:pt x="630" y="306"/>
                </a:lnTo>
                <a:lnTo>
                  <a:pt x="630" y="312"/>
                </a:lnTo>
                <a:lnTo>
                  <a:pt x="630" y="318"/>
                </a:lnTo>
                <a:lnTo>
                  <a:pt x="636" y="318"/>
                </a:lnTo>
                <a:lnTo>
                  <a:pt x="642" y="324"/>
                </a:lnTo>
                <a:lnTo>
                  <a:pt x="648" y="324"/>
                </a:lnTo>
                <a:lnTo>
                  <a:pt x="654" y="324"/>
                </a:lnTo>
                <a:lnTo>
                  <a:pt x="654" y="330"/>
                </a:lnTo>
                <a:lnTo>
                  <a:pt x="660" y="330"/>
                </a:lnTo>
                <a:lnTo>
                  <a:pt x="666" y="324"/>
                </a:lnTo>
                <a:lnTo>
                  <a:pt x="672" y="324"/>
                </a:lnTo>
                <a:lnTo>
                  <a:pt x="672" y="318"/>
                </a:lnTo>
                <a:lnTo>
                  <a:pt x="678" y="318"/>
                </a:lnTo>
                <a:lnTo>
                  <a:pt x="684" y="318"/>
                </a:lnTo>
                <a:lnTo>
                  <a:pt x="690" y="318"/>
                </a:lnTo>
                <a:lnTo>
                  <a:pt x="696" y="318"/>
                </a:lnTo>
                <a:lnTo>
                  <a:pt x="702" y="324"/>
                </a:lnTo>
                <a:lnTo>
                  <a:pt x="702" y="318"/>
                </a:lnTo>
                <a:lnTo>
                  <a:pt x="708" y="318"/>
                </a:lnTo>
                <a:lnTo>
                  <a:pt x="714" y="318"/>
                </a:lnTo>
                <a:lnTo>
                  <a:pt x="714" y="312"/>
                </a:lnTo>
                <a:lnTo>
                  <a:pt x="720" y="312"/>
                </a:lnTo>
                <a:lnTo>
                  <a:pt x="726" y="306"/>
                </a:lnTo>
                <a:lnTo>
                  <a:pt x="732" y="306"/>
                </a:lnTo>
                <a:lnTo>
                  <a:pt x="732" y="312"/>
                </a:lnTo>
                <a:lnTo>
                  <a:pt x="738" y="312"/>
                </a:lnTo>
                <a:lnTo>
                  <a:pt x="738" y="306"/>
                </a:lnTo>
                <a:lnTo>
                  <a:pt x="744" y="306"/>
                </a:lnTo>
                <a:lnTo>
                  <a:pt x="750" y="306"/>
                </a:lnTo>
                <a:lnTo>
                  <a:pt x="750" y="312"/>
                </a:lnTo>
                <a:lnTo>
                  <a:pt x="750" y="318"/>
                </a:lnTo>
                <a:lnTo>
                  <a:pt x="744" y="318"/>
                </a:lnTo>
                <a:lnTo>
                  <a:pt x="738" y="318"/>
                </a:lnTo>
                <a:lnTo>
                  <a:pt x="738" y="324"/>
                </a:lnTo>
                <a:lnTo>
                  <a:pt x="732" y="324"/>
                </a:lnTo>
                <a:lnTo>
                  <a:pt x="726" y="324"/>
                </a:lnTo>
                <a:lnTo>
                  <a:pt x="720" y="324"/>
                </a:lnTo>
                <a:lnTo>
                  <a:pt x="720" y="330"/>
                </a:lnTo>
                <a:lnTo>
                  <a:pt x="714" y="330"/>
                </a:lnTo>
                <a:lnTo>
                  <a:pt x="714" y="336"/>
                </a:lnTo>
                <a:lnTo>
                  <a:pt x="714" y="342"/>
                </a:lnTo>
                <a:lnTo>
                  <a:pt x="714" y="348"/>
                </a:lnTo>
                <a:lnTo>
                  <a:pt x="720" y="348"/>
                </a:lnTo>
                <a:lnTo>
                  <a:pt x="726" y="348"/>
                </a:lnTo>
                <a:lnTo>
                  <a:pt x="726" y="354"/>
                </a:lnTo>
                <a:lnTo>
                  <a:pt x="732" y="354"/>
                </a:lnTo>
                <a:lnTo>
                  <a:pt x="732" y="348"/>
                </a:lnTo>
                <a:lnTo>
                  <a:pt x="738" y="348"/>
                </a:lnTo>
                <a:lnTo>
                  <a:pt x="738" y="354"/>
                </a:lnTo>
                <a:lnTo>
                  <a:pt x="744" y="354"/>
                </a:lnTo>
                <a:lnTo>
                  <a:pt x="744" y="348"/>
                </a:lnTo>
                <a:lnTo>
                  <a:pt x="750" y="348"/>
                </a:lnTo>
                <a:lnTo>
                  <a:pt x="750" y="354"/>
                </a:lnTo>
                <a:lnTo>
                  <a:pt x="744" y="354"/>
                </a:lnTo>
                <a:lnTo>
                  <a:pt x="750" y="354"/>
                </a:lnTo>
                <a:lnTo>
                  <a:pt x="756" y="354"/>
                </a:lnTo>
                <a:lnTo>
                  <a:pt x="762" y="354"/>
                </a:lnTo>
                <a:lnTo>
                  <a:pt x="768" y="354"/>
                </a:lnTo>
                <a:lnTo>
                  <a:pt x="774" y="354"/>
                </a:lnTo>
                <a:lnTo>
                  <a:pt x="774" y="348"/>
                </a:lnTo>
                <a:lnTo>
                  <a:pt x="780" y="348"/>
                </a:lnTo>
                <a:lnTo>
                  <a:pt x="780" y="342"/>
                </a:lnTo>
                <a:lnTo>
                  <a:pt x="786" y="342"/>
                </a:lnTo>
                <a:lnTo>
                  <a:pt x="792" y="342"/>
                </a:lnTo>
                <a:lnTo>
                  <a:pt x="798" y="342"/>
                </a:lnTo>
                <a:lnTo>
                  <a:pt x="804" y="342"/>
                </a:lnTo>
                <a:lnTo>
                  <a:pt x="804" y="336"/>
                </a:lnTo>
                <a:lnTo>
                  <a:pt x="810" y="336"/>
                </a:lnTo>
                <a:lnTo>
                  <a:pt x="816" y="336"/>
                </a:lnTo>
                <a:lnTo>
                  <a:pt x="822" y="336"/>
                </a:lnTo>
                <a:lnTo>
                  <a:pt x="828" y="336"/>
                </a:lnTo>
                <a:lnTo>
                  <a:pt x="834" y="342"/>
                </a:lnTo>
                <a:lnTo>
                  <a:pt x="840" y="342"/>
                </a:lnTo>
                <a:lnTo>
                  <a:pt x="840" y="336"/>
                </a:lnTo>
                <a:lnTo>
                  <a:pt x="846" y="336"/>
                </a:lnTo>
                <a:lnTo>
                  <a:pt x="852" y="330"/>
                </a:lnTo>
                <a:lnTo>
                  <a:pt x="858" y="330"/>
                </a:lnTo>
                <a:lnTo>
                  <a:pt x="864" y="330"/>
                </a:lnTo>
                <a:lnTo>
                  <a:pt x="864" y="336"/>
                </a:lnTo>
                <a:lnTo>
                  <a:pt x="870" y="336"/>
                </a:lnTo>
                <a:lnTo>
                  <a:pt x="870" y="330"/>
                </a:lnTo>
                <a:lnTo>
                  <a:pt x="876" y="336"/>
                </a:lnTo>
                <a:lnTo>
                  <a:pt x="882" y="336"/>
                </a:lnTo>
                <a:lnTo>
                  <a:pt x="888" y="336"/>
                </a:lnTo>
                <a:lnTo>
                  <a:pt x="888" y="330"/>
                </a:lnTo>
                <a:lnTo>
                  <a:pt x="894" y="330"/>
                </a:lnTo>
                <a:lnTo>
                  <a:pt x="900" y="330"/>
                </a:lnTo>
                <a:lnTo>
                  <a:pt x="906" y="330"/>
                </a:lnTo>
                <a:lnTo>
                  <a:pt x="912" y="330"/>
                </a:lnTo>
                <a:lnTo>
                  <a:pt x="918" y="330"/>
                </a:lnTo>
                <a:lnTo>
                  <a:pt x="924" y="330"/>
                </a:lnTo>
                <a:lnTo>
                  <a:pt x="924" y="324"/>
                </a:lnTo>
                <a:lnTo>
                  <a:pt x="930" y="324"/>
                </a:lnTo>
                <a:lnTo>
                  <a:pt x="930" y="318"/>
                </a:lnTo>
                <a:lnTo>
                  <a:pt x="936" y="312"/>
                </a:lnTo>
                <a:lnTo>
                  <a:pt x="936" y="306"/>
                </a:lnTo>
                <a:lnTo>
                  <a:pt x="936" y="300"/>
                </a:lnTo>
                <a:lnTo>
                  <a:pt x="942" y="300"/>
                </a:lnTo>
                <a:lnTo>
                  <a:pt x="942" y="294"/>
                </a:lnTo>
                <a:lnTo>
                  <a:pt x="942" y="288"/>
                </a:lnTo>
                <a:lnTo>
                  <a:pt x="948" y="288"/>
                </a:lnTo>
                <a:lnTo>
                  <a:pt x="954" y="282"/>
                </a:lnTo>
                <a:lnTo>
                  <a:pt x="954" y="276"/>
                </a:lnTo>
                <a:lnTo>
                  <a:pt x="960" y="276"/>
                </a:lnTo>
                <a:lnTo>
                  <a:pt x="960" y="270"/>
                </a:lnTo>
                <a:lnTo>
                  <a:pt x="966" y="264"/>
                </a:lnTo>
                <a:lnTo>
                  <a:pt x="966" y="258"/>
                </a:lnTo>
                <a:lnTo>
                  <a:pt x="972" y="258"/>
                </a:lnTo>
                <a:lnTo>
                  <a:pt x="972" y="246"/>
                </a:lnTo>
                <a:lnTo>
                  <a:pt x="978" y="240"/>
                </a:lnTo>
                <a:lnTo>
                  <a:pt x="978" y="234"/>
                </a:lnTo>
                <a:lnTo>
                  <a:pt x="984" y="234"/>
                </a:lnTo>
                <a:lnTo>
                  <a:pt x="990" y="234"/>
                </a:lnTo>
                <a:lnTo>
                  <a:pt x="990" y="240"/>
                </a:lnTo>
                <a:lnTo>
                  <a:pt x="996" y="240"/>
                </a:lnTo>
                <a:lnTo>
                  <a:pt x="1002" y="240"/>
                </a:lnTo>
                <a:lnTo>
                  <a:pt x="1002" y="246"/>
                </a:lnTo>
                <a:lnTo>
                  <a:pt x="1008" y="246"/>
                </a:lnTo>
                <a:lnTo>
                  <a:pt x="1008" y="252"/>
                </a:lnTo>
                <a:lnTo>
                  <a:pt x="1014" y="252"/>
                </a:lnTo>
                <a:lnTo>
                  <a:pt x="1020" y="252"/>
                </a:lnTo>
                <a:lnTo>
                  <a:pt x="1026" y="252"/>
                </a:lnTo>
                <a:lnTo>
                  <a:pt x="1026" y="246"/>
                </a:lnTo>
                <a:lnTo>
                  <a:pt x="1032" y="240"/>
                </a:lnTo>
                <a:lnTo>
                  <a:pt x="1038" y="240"/>
                </a:lnTo>
                <a:lnTo>
                  <a:pt x="1038" y="234"/>
                </a:lnTo>
                <a:lnTo>
                  <a:pt x="1044" y="234"/>
                </a:lnTo>
                <a:lnTo>
                  <a:pt x="1044" y="228"/>
                </a:lnTo>
                <a:lnTo>
                  <a:pt x="1050" y="222"/>
                </a:lnTo>
                <a:lnTo>
                  <a:pt x="1056" y="216"/>
                </a:lnTo>
                <a:lnTo>
                  <a:pt x="1062" y="216"/>
                </a:lnTo>
                <a:lnTo>
                  <a:pt x="1062" y="210"/>
                </a:lnTo>
                <a:lnTo>
                  <a:pt x="1068" y="210"/>
                </a:lnTo>
                <a:lnTo>
                  <a:pt x="1068" y="204"/>
                </a:lnTo>
                <a:lnTo>
                  <a:pt x="1074" y="210"/>
                </a:lnTo>
                <a:lnTo>
                  <a:pt x="1080" y="210"/>
                </a:lnTo>
                <a:lnTo>
                  <a:pt x="1074" y="210"/>
                </a:lnTo>
                <a:lnTo>
                  <a:pt x="1074" y="216"/>
                </a:lnTo>
                <a:lnTo>
                  <a:pt x="1074" y="222"/>
                </a:lnTo>
                <a:lnTo>
                  <a:pt x="1080" y="222"/>
                </a:lnTo>
                <a:lnTo>
                  <a:pt x="1080" y="228"/>
                </a:lnTo>
                <a:lnTo>
                  <a:pt x="1080" y="234"/>
                </a:lnTo>
                <a:lnTo>
                  <a:pt x="1080" y="240"/>
                </a:lnTo>
                <a:lnTo>
                  <a:pt x="1086" y="240"/>
                </a:lnTo>
                <a:lnTo>
                  <a:pt x="1092" y="240"/>
                </a:lnTo>
                <a:lnTo>
                  <a:pt x="1098" y="240"/>
                </a:lnTo>
                <a:lnTo>
                  <a:pt x="1098" y="246"/>
                </a:lnTo>
                <a:lnTo>
                  <a:pt x="1104" y="246"/>
                </a:lnTo>
                <a:lnTo>
                  <a:pt x="1110" y="246"/>
                </a:lnTo>
                <a:lnTo>
                  <a:pt x="1110" y="252"/>
                </a:lnTo>
                <a:lnTo>
                  <a:pt x="1116" y="252"/>
                </a:lnTo>
                <a:lnTo>
                  <a:pt x="1110" y="258"/>
                </a:lnTo>
                <a:lnTo>
                  <a:pt x="1110" y="264"/>
                </a:lnTo>
                <a:lnTo>
                  <a:pt x="1110" y="270"/>
                </a:lnTo>
                <a:lnTo>
                  <a:pt x="1110" y="276"/>
                </a:lnTo>
                <a:lnTo>
                  <a:pt x="1104" y="276"/>
                </a:lnTo>
                <a:lnTo>
                  <a:pt x="1104" y="282"/>
                </a:lnTo>
                <a:lnTo>
                  <a:pt x="1110" y="282"/>
                </a:lnTo>
                <a:lnTo>
                  <a:pt x="1116" y="282"/>
                </a:lnTo>
                <a:lnTo>
                  <a:pt x="1122" y="282"/>
                </a:lnTo>
                <a:lnTo>
                  <a:pt x="1128" y="282"/>
                </a:lnTo>
                <a:lnTo>
                  <a:pt x="1134" y="282"/>
                </a:lnTo>
                <a:lnTo>
                  <a:pt x="1140" y="288"/>
                </a:lnTo>
                <a:lnTo>
                  <a:pt x="1146" y="282"/>
                </a:lnTo>
                <a:lnTo>
                  <a:pt x="1152" y="276"/>
                </a:lnTo>
                <a:lnTo>
                  <a:pt x="1152" y="282"/>
                </a:lnTo>
                <a:lnTo>
                  <a:pt x="1158" y="282"/>
                </a:lnTo>
                <a:lnTo>
                  <a:pt x="1158" y="288"/>
                </a:lnTo>
                <a:lnTo>
                  <a:pt x="1158" y="294"/>
                </a:lnTo>
                <a:lnTo>
                  <a:pt x="1164" y="294"/>
                </a:lnTo>
                <a:lnTo>
                  <a:pt x="1164" y="300"/>
                </a:lnTo>
                <a:lnTo>
                  <a:pt x="1164" y="306"/>
                </a:lnTo>
                <a:lnTo>
                  <a:pt x="1170" y="306"/>
                </a:lnTo>
                <a:lnTo>
                  <a:pt x="1176" y="306"/>
                </a:lnTo>
                <a:lnTo>
                  <a:pt x="1182" y="306"/>
                </a:lnTo>
                <a:lnTo>
                  <a:pt x="1182" y="312"/>
                </a:lnTo>
                <a:lnTo>
                  <a:pt x="1182" y="318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3" name="Freeform 19">
            <a:extLst>
              <a:ext uri="{FF2B5EF4-FFF2-40B4-BE49-F238E27FC236}">
                <a16:creationId xmlns:a16="http://schemas.microsoft.com/office/drawing/2014/main" id="{4C50F61A-4D65-4198-9C24-36D47FC10ECD}"/>
              </a:ext>
            </a:extLst>
          </p:cNvPr>
          <p:cNvSpPr>
            <a:spLocks/>
          </p:cNvSpPr>
          <p:nvPr/>
        </p:nvSpPr>
        <p:spPr bwMode="gray">
          <a:xfrm rot="533595">
            <a:off x="5442540" y="4327377"/>
            <a:ext cx="838194" cy="1117458"/>
          </a:xfrm>
          <a:custGeom>
            <a:avLst/>
            <a:gdLst>
              <a:gd name="T0" fmla="*/ 810 w 924"/>
              <a:gd name="T1" fmla="*/ 174 h 1320"/>
              <a:gd name="T2" fmla="*/ 792 w 924"/>
              <a:gd name="T3" fmla="*/ 198 h 1320"/>
              <a:gd name="T4" fmla="*/ 768 w 924"/>
              <a:gd name="T5" fmla="*/ 228 h 1320"/>
              <a:gd name="T6" fmla="*/ 840 w 924"/>
              <a:gd name="T7" fmla="*/ 246 h 1320"/>
              <a:gd name="T8" fmla="*/ 864 w 924"/>
              <a:gd name="T9" fmla="*/ 294 h 1320"/>
              <a:gd name="T10" fmla="*/ 846 w 924"/>
              <a:gd name="T11" fmla="*/ 336 h 1320"/>
              <a:gd name="T12" fmla="*/ 882 w 924"/>
              <a:gd name="T13" fmla="*/ 372 h 1320"/>
              <a:gd name="T14" fmla="*/ 894 w 924"/>
              <a:gd name="T15" fmla="*/ 420 h 1320"/>
              <a:gd name="T16" fmla="*/ 846 w 924"/>
              <a:gd name="T17" fmla="*/ 450 h 1320"/>
              <a:gd name="T18" fmla="*/ 780 w 924"/>
              <a:gd name="T19" fmla="*/ 474 h 1320"/>
              <a:gd name="T20" fmla="*/ 702 w 924"/>
              <a:gd name="T21" fmla="*/ 498 h 1320"/>
              <a:gd name="T22" fmla="*/ 696 w 924"/>
              <a:gd name="T23" fmla="*/ 558 h 1320"/>
              <a:gd name="T24" fmla="*/ 654 w 924"/>
              <a:gd name="T25" fmla="*/ 612 h 1320"/>
              <a:gd name="T26" fmla="*/ 678 w 924"/>
              <a:gd name="T27" fmla="*/ 642 h 1320"/>
              <a:gd name="T28" fmla="*/ 648 w 924"/>
              <a:gd name="T29" fmla="*/ 690 h 1320"/>
              <a:gd name="T30" fmla="*/ 612 w 924"/>
              <a:gd name="T31" fmla="*/ 726 h 1320"/>
              <a:gd name="T32" fmla="*/ 600 w 924"/>
              <a:gd name="T33" fmla="*/ 780 h 1320"/>
              <a:gd name="T34" fmla="*/ 558 w 924"/>
              <a:gd name="T35" fmla="*/ 810 h 1320"/>
              <a:gd name="T36" fmla="*/ 552 w 924"/>
              <a:gd name="T37" fmla="*/ 864 h 1320"/>
              <a:gd name="T38" fmla="*/ 576 w 924"/>
              <a:gd name="T39" fmla="*/ 876 h 1320"/>
              <a:gd name="T40" fmla="*/ 594 w 924"/>
              <a:gd name="T41" fmla="*/ 948 h 1320"/>
              <a:gd name="T42" fmla="*/ 648 w 924"/>
              <a:gd name="T43" fmla="*/ 954 h 1320"/>
              <a:gd name="T44" fmla="*/ 702 w 924"/>
              <a:gd name="T45" fmla="*/ 996 h 1320"/>
              <a:gd name="T46" fmla="*/ 738 w 924"/>
              <a:gd name="T47" fmla="*/ 1026 h 1320"/>
              <a:gd name="T48" fmla="*/ 750 w 924"/>
              <a:gd name="T49" fmla="*/ 1062 h 1320"/>
              <a:gd name="T50" fmla="*/ 750 w 924"/>
              <a:gd name="T51" fmla="*/ 1134 h 1320"/>
              <a:gd name="T52" fmla="*/ 690 w 924"/>
              <a:gd name="T53" fmla="*/ 1188 h 1320"/>
              <a:gd name="T54" fmla="*/ 642 w 924"/>
              <a:gd name="T55" fmla="*/ 1272 h 1320"/>
              <a:gd name="T56" fmla="*/ 570 w 924"/>
              <a:gd name="T57" fmla="*/ 1314 h 1320"/>
              <a:gd name="T58" fmla="*/ 522 w 924"/>
              <a:gd name="T59" fmla="*/ 1254 h 1320"/>
              <a:gd name="T60" fmla="*/ 462 w 924"/>
              <a:gd name="T61" fmla="*/ 1206 h 1320"/>
              <a:gd name="T62" fmla="*/ 432 w 924"/>
              <a:gd name="T63" fmla="*/ 1140 h 1320"/>
              <a:gd name="T64" fmla="*/ 360 w 924"/>
              <a:gd name="T65" fmla="*/ 1098 h 1320"/>
              <a:gd name="T66" fmla="*/ 306 w 924"/>
              <a:gd name="T67" fmla="*/ 1032 h 1320"/>
              <a:gd name="T68" fmla="*/ 288 w 924"/>
              <a:gd name="T69" fmla="*/ 978 h 1320"/>
              <a:gd name="T70" fmla="*/ 270 w 924"/>
              <a:gd name="T71" fmla="*/ 948 h 1320"/>
              <a:gd name="T72" fmla="*/ 180 w 924"/>
              <a:gd name="T73" fmla="*/ 936 h 1320"/>
              <a:gd name="T74" fmla="*/ 132 w 924"/>
              <a:gd name="T75" fmla="*/ 930 h 1320"/>
              <a:gd name="T76" fmla="*/ 66 w 924"/>
              <a:gd name="T77" fmla="*/ 912 h 1320"/>
              <a:gd name="T78" fmla="*/ 12 w 924"/>
              <a:gd name="T79" fmla="*/ 858 h 1320"/>
              <a:gd name="T80" fmla="*/ 0 w 924"/>
              <a:gd name="T81" fmla="*/ 774 h 1320"/>
              <a:gd name="T82" fmla="*/ 84 w 924"/>
              <a:gd name="T83" fmla="*/ 750 h 1320"/>
              <a:gd name="T84" fmla="*/ 138 w 924"/>
              <a:gd name="T85" fmla="*/ 696 h 1320"/>
              <a:gd name="T86" fmla="*/ 162 w 924"/>
              <a:gd name="T87" fmla="*/ 648 h 1320"/>
              <a:gd name="T88" fmla="*/ 150 w 924"/>
              <a:gd name="T89" fmla="*/ 588 h 1320"/>
              <a:gd name="T90" fmla="*/ 144 w 924"/>
              <a:gd name="T91" fmla="*/ 510 h 1320"/>
              <a:gd name="T92" fmla="*/ 162 w 924"/>
              <a:gd name="T93" fmla="*/ 480 h 1320"/>
              <a:gd name="T94" fmla="*/ 228 w 924"/>
              <a:gd name="T95" fmla="*/ 444 h 1320"/>
              <a:gd name="T96" fmla="*/ 180 w 924"/>
              <a:gd name="T97" fmla="*/ 366 h 1320"/>
              <a:gd name="T98" fmla="*/ 174 w 924"/>
              <a:gd name="T99" fmla="*/ 318 h 1320"/>
              <a:gd name="T100" fmla="*/ 174 w 924"/>
              <a:gd name="T101" fmla="*/ 252 h 1320"/>
              <a:gd name="T102" fmla="*/ 222 w 924"/>
              <a:gd name="T103" fmla="*/ 180 h 1320"/>
              <a:gd name="T104" fmla="*/ 228 w 924"/>
              <a:gd name="T105" fmla="*/ 96 h 1320"/>
              <a:gd name="T106" fmla="*/ 246 w 924"/>
              <a:gd name="T107" fmla="*/ 36 h 1320"/>
              <a:gd name="T108" fmla="*/ 330 w 924"/>
              <a:gd name="T109" fmla="*/ 30 h 1320"/>
              <a:gd name="T110" fmla="*/ 402 w 924"/>
              <a:gd name="T111" fmla="*/ 30 h 1320"/>
              <a:gd name="T112" fmla="*/ 456 w 924"/>
              <a:gd name="T113" fmla="*/ 60 h 1320"/>
              <a:gd name="T114" fmla="*/ 516 w 924"/>
              <a:gd name="T115" fmla="*/ 48 h 1320"/>
              <a:gd name="T116" fmla="*/ 546 w 924"/>
              <a:gd name="T117" fmla="*/ 36 h 1320"/>
              <a:gd name="T118" fmla="*/ 594 w 924"/>
              <a:gd name="T119" fmla="*/ 60 h 1320"/>
              <a:gd name="T120" fmla="*/ 654 w 924"/>
              <a:gd name="T121" fmla="*/ 132 h 1320"/>
              <a:gd name="T122" fmla="*/ 714 w 924"/>
              <a:gd name="T123" fmla="*/ 120 h 1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924" h="1320">
                <a:moveTo>
                  <a:pt x="774" y="126"/>
                </a:moveTo>
                <a:lnTo>
                  <a:pt x="780" y="126"/>
                </a:lnTo>
                <a:lnTo>
                  <a:pt x="780" y="132"/>
                </a:lnTo>
                <a:lnTo>
                  <a:pt x="786" y="126"/>
                </a:lnTo>
                <a:lnTo>
                  <a:pt x="786" y="132"/>
                </a:lnTo>
                <a:lnTo>
                  <a:pt x="792" y="132"/>
                </a:lnTo>
                <a:lnTo>
                  <a:pt x="798" y="132"/>
                </a:lnTo>
                <a:lnTo>
                  <a:pt x="798" y="138"/>
                </a:lnTo>
                <a:lnTo>
                  <a:pt x="804" y="138"/>
                </a:lnTo>
                <a:lnTo>
                  <a:pt x="810" y="138"/>
                </a:lnTo>
                <a:lnTo>
                  <a:pt x="810" y="144"/>
                </a:lnTo>
                <a:lnTo>
                  <a:pt x="816" y="144"/>
                </a:lnTo>
                <a:lnTo>
                  <a:pt x="816" y="150"/>
                </a:lnTo>
                <a:lnTo>
                  <a:pt x="816" y="156"/>
                </a:lnTo>
                <a:lnTo>
                  <a:pt x="810" y="156"/>
                </a:lnTo>
                <a:lnTo>
                  <a:pt x="810" y="162"/>
                </a:lnTo>
                <a:lnTo>
                  <a:pt x="816" y="162"/>
                </a:lnTo>
                <a:lnTo>
                  <a:pt x="816" y="168"/>
                </a:lnTo>
                <a:lnTo>
                  <a:pt x="810" y="168"/>
                </a:lnTo>
                <a:lnTo>
                  <a:pt x="810" y="174"/>
                </a:lnTo>
                <a:lnTo>
                  <a:pt x="804" y="174"/>
                </a:lnTo>
                <a:lnTo>
                  <a:pt x="804" y="168"/>
                </a:lnTo>
                <a:lnTo>
                  <a:pt x="804" y="162"/>
                </a:lnTo>
                <a:lnTo>
                  <a:pt x="798" y="162"/>
                </a:lnTo>
                <a:lnTo>
                  <a:pt x="792" y="162"/>
                </a:lnTo>
                <a:lnTo>
                  <a:pt x="792" y="168"/>
                </a:lnTo>
                <a:lnTo>
                  <a:pt x="792" y="174"/>
                </a:lnTo>
                <a:lnTo>
                  <a:pt x="792" y="168"/>
                </a:lnTo>
                <a:lnTo>
                  <a:pt x="798" y="168"/>
                </a:lnTo>
                <a:lnTo>
                  <a:pt x="798" y="174"/>
                </a:lnTo>
                <a:lnTo>
                  <a:pt x="792" y="174"/>
                </a:lnTo>
                <a:lnTo>
                  <a:pt x="792" y="180"/>
                </a:lnTo>
                <a:lnTo>
                  <a:pt x="798" y="180"/>
                </a:lnTo>
                <a:lnTo>
                  <a:pt x="804" y="186"/>
                </a:lnTo>
                <a:lnTo>
                  <a:pt x="804" y="192"/>
                </a:lnTo>
                <a:lnTo>
                  <a:pt x="798" y="192"/>
                </a:lnTo>
                <a:lnTo>
                  <a:pt x="798" y="186"/>
                </a:lnTo>
                <a:lnTo>
                  <a:pt x="798" y="192"/>
                </a:lnTo>
                <a:lnTo>
                  <a:pt x="792" y="192"/>
                </a:lnTo>
                <a:lnTo>
                  <a:pt x="792" y="198"/>
                </a:lnTo>
                <a:lnTo>
                  <a:pt x="786" y="204"/>
                </a:lnTo>
                <a:lnTo>
                  <a:pt x="786" y="210"/>
                </a:lnTo>
                <a:lnTo>
                  <a:pt x="780" y="210"/>
                </a:lnTo>
                <a:lnTo>
                  <a:pt x="780" y="216"/>
                </a:lnTo>
                <a:lnTo>
                  <a:pt x="780" y="210"/>
                </a:lnTo>
                <a:lnTo>
                  <a:pt x="774" y="210"/>
                </a:lnTo>
                <a:lnTo>
                  <a:pt x="780" y="204"/>
                </a:lnTo>
                <a:lnTo>
                  <a:pt x="774" y="204"/>
                </a:lnTo>
                <a:lnTo>
                  <a:pt x="768" y="204"/>
                </a:lnTo>
                <a:lnTo>
                  <a:pt x="774" y="204"/>
                </a:lnTo>
                <a:lnTo>
                  <a:pt x="768" y="204"/>
                </a:lnTo>
                <a:lnTo>
                  <a:pt x="768" y="210"/>
                </a:lnTo>
                <a:lnTo>
                  <a:pt x="774" y="210"/>
                </a:lnTo>
                <a:lnTo>
                  <a:pt x="768" y="210"/>
                </a:lnTo>
                <a:lnTo>
                  <a:pt x="762" y="210"/>
                </a:lnTo>
                <a:lnTo>
                  <a:pt x="768" y="210"/>
                </a:lnTo>
                <a:lnTo>
                  <a:pt x="768" y="216"/>
                </a:lnTo>
                <a:lnTo>
                  <a:pt x="762" y="216"/>
                </a:lnTo>
                <a:lnTo>
                  <a:pt x="762" y="222"/>
                </a:lnTo>
                <a:lnTo>
                  <a:pt x="768" y="228"/>
                </a:lnTo>
                <a:lnTo>
                  <a:pt x="768" y="234"/>
                </a:lnTo>
                <a:lnTo>
                  <a:pt x="774" y="234"/>
                </a:lnTo>
                <a:lnTo>
                  <a:pt x="780" y="240"/>
                </a:lnTo>
                <a:lnTo>
                  <a:pt x="786" y="240"/>
                </a:lnTo>
                <a:lnTo>
                  <a:pt x="792" y="240"/>
                </a:lnTo>
                <a:lnTo>
                  <a:pt x="798" y="240"/>
                </a:lnTo>
                <a:lnTo>
                  <a:pt x="798" y="234"/>
                </a:lnTo>
                <a:lnTo>
                  <a:pt x="804" y="234"/>
                </a:lnTo>
                <a:lnTo>
                  <a:pt x="810" y="234"/>
                </a:lnTo>
                <a:lnTo>
                  <a:pt x="810" y="240"/>
                </a:lnTo>
                <a:lnTo>
                  <a:pt x="816" y="240"/>
                </a:lnTo>
                <a:lnTo>
                  <a:pt x="816" y="234"/>
                </a:lnTo>
                <a:lnTo>
                  <a:pt x="816" y="228"/>
                </a:lnTo>
                <a:lnTo>
                  <a:pt x="816" y="234"/>
                </a:lnTo>
                <a:lnTo>
                  <a:pt x="816" y="240"/>
                </a:lnTo>
                <a:lnTo>
                  <a:pt x="822" y="240"/>
                </a:lnTo>
                <a:lnTo>
                  <a:pt x="822" y="246"/>
                </a:lnTo>
                <a:lnTo>
                  <a:pt x="828" y="246"/>
                </a:lnTo>
                <a:lnTo>
                  <a:pt x="834" y="246"/>
                </a:lnTo>
                <a:lnTo>
                  <a:pt x="840" y="246"/>
                </a:lnTo>
                <a:lnTo>
                  <a:pt x="840" y="252"/>
                </a:lnTo>
                <a:lnTo>
                  <a:pt x="846" y="252"/>
                </a:lnTo>
                <a:lnTo>
                  <a:pt x="852" y="252"/>
                </a:lnTo>
                <a:lnTo>
                  <a:pt x="852" y="258"/>
                </a:lnTo>
                <a:lnTo>
                  <a:pt x="852" y="264"/>
                </a:lnTo>
                <a:lnTo>
                  <a:pt x="846" y="264"/>
                </a:lnTo>
                <a:lnTo>
                  <a:pt x="846" y="270"/>
                </a:lnTo>
                <a:lnTo>
                  <a:pt x="852" y="270"/>
                </a:lnTo>
                <a:lnTo>
                  <a:pt x="852" y="276"/>
                </a:lnTo>
                <a:lnTo>
                  <a:pt x="846" y="276"/>
                </a:lnTo>
                <a:lnTo>
                  <a:pt x="840" y="276"/>
                </a:lnTo>
                <a:lnTo>
                  <a:pt x="840" y="282"/>
                </a:lnTo>
                <a:lnTo>
                  <a:pt x="834" y="282"/>
                </a:lnTo>
                <a:lnTo>
                  <a:pt x="834" y="288"/>
                </a:lnTo>
                <a:lnTo>
                  <a:pt x="840" y="288"/>
                </a:lnTo>
                <a:lnTo>
                  <a:pt x="846" y="288"/>
                </a:lnTo>
                <a:lnTo>
                  <a:pt x="852" y="288"/>
                </a:lnTo>
                <a:lnTo>
                  <a:pt x="858" y="288"/>
                </a:lnTo>
                <a:lnTo>
                  <a:pt x="864" y="288"/>
                </a:lnTo>
                <a:lnTo>
                  <a:pt x="864" y="294"/>
                </a:lnTo>
                <a:lnTo>
                  <a:pt x="870" y="294"/>
                </a:lnTo>
                <a:lnTo>
                  <a:pt x="870" y="288"/>
                </a:lnTo>
                <a:lnTo>
                  <a:pt x="876" y="288"/>
                </a:lnTo>
                <a:lnTo>
                  <a:pt x="882" y="288"/>
                </a:lnTo>
                <a:lnTo>
                  <a:pt x="882" y="294"/>
                </a:lnTo>
                <a:lnTo>
                  <a:pt x="876" y="294"/>
                </a:lnTo>
                <a:lnTo>
                  <a:pt x="876" y="300"/>
                </a:lnTo>
                <a:lnTo>
                  <a:pt x="876" y="306"/>
                </a:lnTo>
                <a:lnTo>
                  <a:pt x="876" y="312"/>
                </a:lnTo>
                <a:lnTo>
                  <a:pt x="870" y="312"/>
                </a:lnTo>
                <a:lnTo>
                  <a:pt x="870" y="306"/>
                </a:lnTo>
                <a:lnTo>
                  <a:pt x="864" y="306"/>
                </a:lnTo>
                <a:lnTo>
                  <a:pt x="858" y="306"/>
                </a:lnTo>
                <a:lnTo>
                  <a:pt x="852" y="306"/>
                </a:lnTo>
                <a:lnTo>
                  <a:pt x="852" y="312"/>
                </a:lnTo>
                <a:lnTo>
                  <a:pt x="852" y="318"/>
                </a:lnTo>
                <a:lnTo>
                  <a:pt x="852" y="324"/>
                </a:lnTo>
                <a:lnTo>
                  <a:pt x="846" y="324"/>
                </a:lnTo>
                <a:lnTo>
                  <a:pt x="846" y="330"/>
                </a:lnTo>
                <a:lnTo>
                  <a:pt x="846" y="336"/>
                </a:lnTo>
                <a:lnTo>
                  <a:pt x="840" y="342"/>
                </a:lnTo>
                <a:lnTo>
                  <a:pt x="840" y="348"/>
                </a:lnTo>
                <a:lnTo>
                  <a:pt x="834" y="348"/>
                </a:lnTo>
                <a:lnTo>
                  <a:pt x="834" y="354"/>
                </a:lnTo>
                <a:lnTo>
                  <a:pt x="828" y="354"/>
                </a:lnTo>
                <a:lnTo>
                  <a:pt x="822" y="354"/>
                </a:lnTo>
                <a:lnTo>
                  <a:pt x="822" y="360"/>
                </a:lnTo>
                <a:lnTo>
                  <a:pt x="828" y="360"/>
                </a:lnTo>
                <a:lnTo>
                  <a:pt x="828" y="366"/>
                </a:lnTo>
                <a:lnTo>
                  <a:pt x="834" y="360"/>
                </a:lnTo>
                <a:lnTo>
                  <a:pt x="840" y="360"/>
                </a:lnTo>
                <a:lnTo>
                  <a:pt x="846" y="360"/>
                </a:lnTo>
                <a:lnTo>
                  <a:pt x="852" y="360"/>
                </a:lnTo>
                <a:lnTo>
                  <a:pt x="852" y="366"/>
                </a:lnTo>
                <a:lnTo>
                  <a:pt x="858" y="366"/>
                </a:lnTo>
                <a:lnTo>
                  <a:pt x="864" y="366"/>
                </a:lnTo>
                <a:lnTo>
                  <a:pt x="870" y="366"/>
                </a:lnTo>
                <a:lnTo>
                  <a:pt x="876" y="366"/>
                </a:lnTo>
                <a:lnTo>
                  <a:pt x="882" y="366"/>
                </a:lnTo>
                <a:lnTo>
                  <a:pt x="882" y="372"/>
                </a:lnTo>
                <a:lnTo>
                  <a:pt x="888" y="372"/>
                </a:lnTo>
                <a:lnTo>
                  <a:pt x="888" y="378"/>
                </a:lnTo>
                <a:lnTo>
                  <a:pt x="888" y="384"/>
                </a:lnTo>
                <a:lnTo>
                  <a:pt x="888" y="390"/>
                </a:lnTo>
                <a:lnTo>
                  <a:pt x="894" y="390"/>
                </a:lnTo>
                <a:lnTo>
                  <a:pt x="900" y="396"/>
                </a:lnTo>
                <a:lnTo>
                  <a:pt x="906" y="396"/>
                </a:lnTo>
                <a:lnTo>
                  <a:pt x="912" y="390"/>
                </a:lnTo>
                <a:lnTo>
                  <a:pt x="912" y="396"/>
                </a:lnTo>
                <a:lnTo>
                  <a:pt x="912" y="402"/>
                </a:lnTo>
                <a:lnTo>
                  <a:pt x="918" y="402"/>
                </a:lnTo>
                <a:lnTo>
                  <a:pt x="918" y="408"/>
                </a:lnTo>
                <a:lnTo>
                  <a:pt x="924" y="408"/>
                </a:lnTo>
                <a:lnTo>
                  <a:pt x="924" y="414"/>
                </a:lnTo>
                <a:lnTo>
                  <a:pt x="918" y="414"/>
                </a:lnTo>
                <a:lnTo>
                  <a:pt x="912" y="414"/>
                </a:lnTo>
                <a:lnTo>
                  <a:pt x="906" y="414"/>
                </a:lnTo>
                <a:lnTo>
                  <a:pt x="900" y="414"/>
                </a:lnTo>
                <a:lnTo>
                  <a:pt x="894" y="414"/>
                </a:lnTo>
                <a:lnTo>
                  <a:pt x="894" y="420"/>
                </a:lnTo>
                <a:lnTo>
                  <a:pt x="888" y="420"/>
                </a:lnTo>
                <a:lnTo>
                  <a:pt x="888" y="426"/>
                </a:lnTo>
                <a:lnTo>
                  <a:pt x="888" y="432"/>
                </a:lnTo>
                <a:lnTo>
                  <a:pt x="894" y="432"/>
                </a:lnTo>
                <a:lnTo>
                  <a:pt x="894" y="438"/>
                </a:lnTo>
                <a:lnTo>
                  <a:pt x="888" y="438"/>
                </a:lnTo>
                <a:lnTo>
                  <a:pt x="882" y="438"/>
                </a:lnTo>
                <a:lnTo>
                  <a:pt x="876" y="438"/>
                </a:lnTo>
                <a:lnTo>
                  <a:pt x="876" y="444"/>
                </a:lnTo>
                <a:lnTo>
                  <a:pt x="870" y="444"/>
                </a:lnTo>
                <a:lnTo>
                  <a:pt x="870" y="450"/>
                </a:lnTo>
                <a:lnTo>
                  <a:pt x="870" y="456"/>
                </a:lnTo>
                <a:lnTo>
                  <a:pt x="864" y="456"/>
                </a:lnTo>
                <a:lnTo>
                  <a:pt x="864" y="450"/>
                </a:lnTo>
                <a:lnTo>
                  <a:pt x="858" y="456"/>
                </a:lnTo>
                <a:lnTo>
                  <a:pt x="858" y="450"/>
                </a:lnTo>
                <a:lnTo>
                  <a:pt x="858" y="456"/>
                </a:lnTo>
                <a:lnTo>
                  <a:pt x="852" y="456"/>
                </a:lnTo>
                <a:lnTo>
                  <a:pt x="846" y="456"/>
                </a:lnTo>
                <a:lnTo>
                  <a:pt x="846" y="450"/>
                </a:lnTo>
                <a:lnTo>
                  <a:pt x="840" y="450"/>
                </a:lnTo>
                <a:lnTo>
                  <a:pt x="834" y="450"/>
                </a:lnTo>
                <a:lnTo>
                  <a:pt x="834" y="456"/>
                </a:lnTo>
                <a:lnTo>
                  <a:pt x="834" y="450"/>
                </a:lnTo>
                <a:lnTo>
                  <a:pt x="828" y="450"/>
                </a:lnTo>
                <a:lnTo>
                  <a:pt x="828" y="456"/>
                </a:lnTo>
                <a:lnTo>
                  <a:pt x="828" y="450"/>
                </a:lnTo>
                <a:lnTo>
                  <a:pt x="822" y="450"/>
                </a:lnTo>
                <a:lnTo>
                  <a:pt x="816" y="456"/>
                </a:lnTo>
                <a:lnTo>
                  <a:pt x="810" y="456"/>
                </a:lnTo>
                <a:lnTo>
                  <a:pt x="804" y="456"/>
                </a:lnTo>
                <a:lnTo>
                  <a:pt x="798" y="456"/>
                </a:lnTo>
                <a:lnTo>
                  <a:pt x="798" y="450"/>
                </a:lnTo>
                <a:lnTo>
                  <a:pt x="792" y="450"/>
                </a:lnTo>
                <a:lnTo>
                  <a:pt x="792" y="456"/>
                </a:lnTo>
                <a:lnTo>
                  <a:pt x="792" y="462"/>
                </a:lnTo>
                <a:lnTo>
                  <a:pt x="786" y="462"/>
                </a:lnTo>
                <a:lnTo>
                  <a:pt x="786" y="468"/>
                </a:lnTo>
                <a:lnTo>
                  <a:pt x="780" y="468"/>
                </a:lnTo>
                <a:lnTo>
                  <a:pt x="780" y="474"/>
                </a:lnTo>
                <a:lnTo>
                  <a:pt x="774" y="474"/>
                </a:lnTo>
                <a:lnTo>
                  <a:pt x="774" y="480"/>
                </a:lnTo>
                <a:lnTo>
                  <a:pt x="768" y="480"/>
                </a:lnTo>
                <a:lnTo>
                  <a:pt x="768" y="486"/>
                </a:lnTo>
                <a:lnTo>
                  <a:pt x="762" y="486"/>
                </a:lnTo>
                <a:lnTo>
                  <a:pt x="756" y="492"/>
                </a:lnTo>
                <a:lnTo>
                  <a:pt x="750" y="498"/>
                </a:lnTo>
                <a:lnTo>
                  <a:pt x="750" y="492"/>
                </a:lnTo>
                <a:lnTo>
                  <a:pt x="744" y="492"/>
                </a:lnTo>
                <a:lnTo>
                  <a:pt x="738" y="492"/>
                </a:lnTo>
                <a:lnTo>
                  <a:pt x="732" y="492"/>
                </a:lnTo>
                <a:lnTo>
                  <a:pt x="732" y="498"/>
                </a:lnTo>
                <a:lnTo>
                  <a:pt x="732" y="492"/>
                </a:lnTo>
                <a:lnTo>
                  <a:pt x="726" y="492"/>
                </a:lnTo>
                <a:lnTo>
                  <a:pt x="720" y="492"/>
                </a:lnTo>
                <a:lnTo>
                  <a:pt x="720" y="486"/>
                </a:lnTo>
                <a:lnTo>
                  <a:pt x="714" y="486"/>
                </a:lnTo>
                <a:lnTo>
                  <a:pt x="708" y="492"/>
                </a:lnTo>
                <a:lnTo>
                  <a:pt x="702" y="492"/>
                </a:lnTo>
                <a:lnTo>
                  <a:pt x="702" y="498"/>
                </a:lnTo>
                <a:lnTo>
                  <a:pt x="702" y="504"/>
                </a:lnTo>
                <a:lnTo>
                  <a:pt x="696" y="504"/>
                </a:lnTo>
                <a:lnTo>
                  <a:pt x="696" y="510"/>
                </a:lnTo>
                <a:lnTo>
                  <a:pt x="690" y="510"/>
                </a:lnTo>
                <a:lnTo>
                  <a:pt x="690" y="516"/>
                </a:lnTo>
                <a:lnTo>
                  <a:pt x="696" y="516"/>
                </a:lnTo>
                <a:lnTo>
                  <a:pt x="696" y="522"/>
                </a:lnTo>
                <a:lnTo>
                  <a:pt x="696" y="528"/>
                </a:lnTo>
                <a:lnTo>
                  <a:pt x="696" y="534"/>
                </a:lnTo>
                <a:lnTo>
                  <a:pt x="690" y="534"/>
                </a:lnTo>
                <a:lnTo>
                  <a:pt x="684" y="528"/>
                </a:lnTo>
                <a:lnTo>
                  <a:pt x="684" y="534"/>
                </a:lnTo>
                <a:lnTo>
                  <a:pt x="678" y="534"/>
                </a:lnTo>
                <a:lnTo>
                  <a:pt x="684" y="534"/>
                </a:lnTo>
                <a:lnTo>
                  <a:pt x="684" y="540"/>
                </a:lnTo>
                <a:lnTo>
                  <a:pt x="690" y="540"/>
                </a:lnTo>
                <a:lnTo>
                  <a:pt x="696" y="540"/>
                </a:lnTo>
                <a:lnTo>
                  <a:pt x="696" y="546"/>
                </a:lnTo>
                <a:lnTo>
                  <a:pt x="696" y="552"/>
                </a:lnTo>
                <a:lnTo>
                  <a:pt x="696" y="558"/>
                </a:lnTo>
                <a:lnTo>
                  <a:pt x="696" y="564"/>
                </a:lnTo>
                <a:lnTo>
                  <a:pt x="696" y="570"/>
                </a:lnTo>
                <a:lnTo>
                  <a:pt x="690" y="570"/>
                </a:lnTo>
                <a:lnTo>
                  <a:pt x="684" y="570"/>
                </a:lnTo>
                <a:lnTo>
                  <a:pt x="678" y="570"/>
                </a:lnTo>
                <a:lnTo>
                  <a:pt x="672" y="570"/>
                </a:lnTo>
                <a:lnTo>
                  <a:pt x="672" y="564"/>
                </a:lnTo>
                <a:lnTo>
                  <a:pt x="666" y="564"/>
                </a:lnTo>
                <a:lnTo>
                  <a:pt x="660" y="564"/>
                </a:lnTo>
                <a:lnTo>
                  <a:pt x="660" y="570"/>
                </a:lnTo>
                <a:lnTo>
                  <a:pt x="666" y="570"/>
                </a:lnTo>
                <a:lnTo>
                  <a:pt x="660" y="576"/>
                </a:lnTo>
                <a:lnTo>
                  <a:pt x="660" y="582"/>
                </a:lnTo>
                <a:lnTo>
                  <a:pt x="660" y="588"/>
                </a:lnTo>
                <a:lnTo>
                  <a:pt x="666" y="588"/>
                </a:lnTo>
                <a:lnTo>
                  <a:pt x="660" y="594"/>
                </a:lnTo>
                <a:lnTo>
                  <a:pt x="660" y="600"/>
                </a:lnTo>
                <a:lnTo>
                  <a:pt x="654" y="600"/>
                </a:lnTo>
                <a:lnTo>
                  <a:pt x="654" y="606"/>
                </a:lnTo>
                <a:lnTo>
                  <a:pt x="654" y="612"/>
                </a:lnTo>
                <a:lnTo>
                  <a:pt x="648" y="612"/>
                </a:lnTo>
                <a:lnTo>
                  <a:pt x="642" y="612"/>
                </a:lnTo>
                <a:lnTo>
                  <a:pt x="642" y="618"/>
                </a:lnTo>
                <a:lnTo>
                  <a:pt x="642" y="624"/>
                </a:lnTo>
                <a:lnTo>
                  <a:pt x="648" y="624"/>
                </a:lnTo>
                <a:lnTo>
                  <a:pt x="642" y="624"/>
                </a:lnTo>
                <a:lnTo>
                  <a:pt x="636" y="624"/>
                </a:lnTo>
                <a:lnTo>
                  <a:pt x="630" y="624"/>
                </a:lnTo>
                <a:lnTo>
                  <a:pt x="624" y="624"/>
                </a:lnTo>
                <a:lnTo>
                  <a:pt x="624" y="630"/>
                </a:lnTo>
                <a:lnTo>
                  <a:pt x="630" y="630"/>
                </a:lnTo>
                <a:lnTo>
                  <a:pt x="636" y="630"/>
                </a:lnTo>
                <a:lnTo>
                  <a:pt x="636" y="636"/>
                </a:lnTo>
                <a:lnTo>
                  <a:pt x="642" y="636"/>
                </a:lnTo>
                <a:lnTo>
                  <a:pt x="648" y="636"/>
                </a:lnTo>
                <a:lnTo>
                  <a:pt x="654" y="642"/>
                </a:lnTo>
                <a:lnTo>
                  <a:pt x="660" y="642"/>
                </a:lnTo>
                <a:lnTo>
                  <a:pt x="666" y="642"/>
                </a:lnTo>
                <a:lnTo>
                  <a:pt x="672" y="642"/>
                </a:lnTo>
                <a:lnTo>
                  <a:pt x="678" y="642"/>
                </a:lnTo>
                <a:lnTo>
                  <a:pt x="684" y="648"/>
                </a:lnTo>
                <a:lnTo>
                  <a:pt x="690" y="642"/>
                </a:lnTo>
                <a:lnTo>
                  <a:pt x="690" y="648"/>
                </a:lnTo>
                <a:lnTo>
                  <a:pt x="684" y="648"/>
                </a:lnTo>
                <a:lnTo>
                  <a:pt x="684" y="654"/>
                </a:lnTo>
                <a:lnTo>
                  <a:pt x="678" y="654"/>
                </a:lnTo>
                <a:lnTo>
                  <a:pt x="678" y="660"/>
                </a:lnTo>
                <a:lnTo>
                  <a:pt x="678" y="666"/>
                </a:lnTo>
                <a:lnTo>
                  <a:pt x="672" y="660"/>
                </a:lnTo>
                <a:lnTo>
                  <a:pt x="672" y="666"/>
                </a:lnTo>
                <a:lnTo>
                  <a:pt x="666" y="666"/>
                </a:lnTo>
                <a:lnTo>
                  <a:pt x="660" y="666"/>
                </a:lnTo>
                <a:lnTo>
                  <a:pt x="660" y="672"/>
                </a:lnTo>
                <a:lnTo>
                  <a:pt x="660" y="678"/>
                </a:lnTo>
                <a:lnTo>
                  <a:pt x="654" y="678"/>
                </a:lnTo>
                <a:lnTo>
                  <a:pt x="648" y="678"/>
                </a:lnTo>
                <a:lnTo>
                  <a:pt x="642" y="678"/>
                </a:lnTo>
                <a:lnTo>
                  <a:pt x="642" y="684"/>
                </a:lnTo>
                <a:lnTo>
                  <a:pt x="642" y="690"/>
                </a:lnTo>
                <a:lnTo>
                  <a:pt x="648" y="690"/>
                </a:lnTo>
                <a:lnTo>
                  <a:pt x="654" y="690"/>
                </a:lnTo>
                <a:lnTo>
                  <a:pt x="654" y="684"/>
                </a:lnTo>
                <a:lnTo>
                  <a:pt x="654" y="690"/>
                </a:lnTo>
                <a:lnTo>
                  <a:pt x="654" y="696"/>
                </a:lnTo>
                <a:lnTo>
                  <a:pt x="648" y="690"/>
                </a:lnTo>
                <a:lnTo>
                  <a:pt x="648" y="696"/>
                </a:lnTo>
                <a:lnTo>
                  <a:pt x="648" y="702"/>
                </a:lnTo>
                <a:lnTo>
                  <a:pt x="654" y="702"/>
                </a:lnTo>
                <a:lnTo>
                  <a:pt x="654" y="708"/>
                </a:lnTo>
                <a:lnTo>
                  <a:pt x="648" y="708"/>
                </a:lnTo>
                <a:lnTo>
                  <a:pt x="642" y="714"/>
                </a:lnTo>
                <a:lnTo>
                  <a:pt x="636" y="714"/>
                </a:lnTo>
                <a:lnTo>
                  <a:pt x="630" y="714"/>
                </a:lnTo>
                <a:lnTo>
                  <a:pt x="630" y="720"/>
                </a:lnTo>
                <a:lnTo>
                  <a:pt x="624" y="720"/>
                </a:lnTo>
                <a:lnTo>
                  <a:pt x="618" y="720"/>
                </a:lnTo>
                <a:lnTo>
                  <a:pt x="612" y="720"/>
                </a:lnTo>
                <a:lnTo>
                  <a:pt x="612" y="726"/>
                </a:lnTo>
                <a:lnTo>
                  <a:pt x="618" y="726"/>
                </a:lnTo>
                <a:lnTo>
                  <a:pt x="612" y="726"/>
                </a:lnTo>
                <a:lnTo>
                  <a:pt x="618" y="732"/>
                </a:lnTo>
                <a:lnTo>
                  <a:pt x="618" y="738"/>
                </a:lnTo>
                <a:lnTo>
                  <a:pt x="612" y="738"/>
                </a:lnTo>
                <a:lnTo>
                  <a:pt x="606" y="738"/>
                </a:lnTo>
                <a:lnTo>
                  <a:pt x="606" y="732"/>
                </a:lnTo>
                <a:lnTo>
                  <a:pt x="606" y="726"/>
                </a:lnTo>
                <a:lnTo>
                  <a:pt x="600" y="726"/>
                </a:lnTo>
                <a:lnTo>
                  <a:pt x="600" y="732"/>
                </a:lnTo>
                <a:lnTo>
                  <a:pt x="600" y="738"/>
                </a:lnTo>
                <a:lnTo>
                  <a:pt x="600" y="744"/>
                </a:lnTo>
                <a:lnTo>
                  <a:pt x="594" y="744"/>
                </a:lnTo>
                <a:lnTo>
                  <a:pt x="594" y="750"/>
                </a:lnTo>
                <a:lnTo>
                  <a:pt x="594" y="756"/>
                </a:lnTo>
                <a:lnTo>
                  <a:pt x="588" y="756"/>
                </a:lnTo>
                <a:lnTo>
                  <a:pt x="588" y="762"/>
                </a:lnTo>
                <a:lnTo>
                  <a:pt x="588" y="768"/>
                </a:lnTo>
                <a:lnTo>
                  <a:pt x="588" y="774"/>
                </a:lnTo>
                <a:lnTo>
                  <a:pt x="588" y="780"/>
                </a:lnTo>
                <a:lnTo>
                  <a:pt x="594" y="780"/>
                </a:lnTo>
                <a:lnTo>
                  <a:pt x="600" y="780"/>
                </a:lnTo>
                <a:lnTo>
                  <a:pt x="600" y="786"/>
                </a:lnTo>
                <a:lnTo>
                  <a:pt x="600" y="780"/>
                </a:lnTo>
                <a:lnTo>
                  <a:pt x="594" y="780"/>
                </a:lnTo>
                <a:lnTo>
                  <a:pt x="594" y="786"/>
                </a:lnTo>
                <a:lnTo>
                  <a:pt x="594" y="792"/>
                </a:lnTo>
                <a:lnTo>
                  <a:pt x="594" y="786"/>
                </a:lnTo>
                <a:lnTo>
                  <a:pt x="588" y="786"/>
                </a:lnTo>
                <a:lnTo>
                  <a:pt x="582" y="786"/>
                </a:lnTo>
                <a:lnTo>
                  <a:pt x="576" y="786"/>
                </a:lnTo>
                <a:lnTo>
                  <a:pt x="576" y="792"/>
                </a:lnTo>
                <a:lnTo>
                  <a:pt x="570" y="792"/>
                </a:lnTo>
                <a:lnTo>
                  <a:pt x="564" y="792"/>
                </a:lnTo>
                <a:lnTo>
                  <a:pt x="570" y="792"/>
                </a:lnTo>
                <a:lnTo>
                  <a:pt x="570" y="798"/>
                </a:lnTo>
                <a:lnTo>
                  <a:pt x="564" y="798"/>
                </a:lnTo>
                <a:lnTo>
                  <a:pt x="558" y="798"/>
                </a:lnTo>
                <a:lnTo>
                  <a:pt x="558" y="804"/>
                </a:lnTo>
                <a:lnTo>
                  <a:pt x="564" y="804"/>
                </a:lnTo>
                <a:lnTo>
                  <a:pt x="558" y="804"/>
                </a:lnTo>
                <a:lnTo>
                  <a:pt x="558" y="810"/>
                </a:lnTo>
                <a:lnTo>
                  <a:pt x="558" y="816"/>
                </a:lnTo>
                <a:lnTo>
                  <a:pt x="552" y="816"/>
                </a:lnTo>
                <a:lnTo>
                  <a:pt x="552" y="810"/>
                </a:lnTo>
                <a:lnTo>
                  <a:pt x="552" y="816"/>
                </a:lnTo>
                <a:lnTo>
                  <a:pt x="558" y="816"/>
                </a:lnTo>
                <a:lnTo>
                  <a:pt x="558" y="822"/>
                </a:lnTo>
                <a:lnTo>
                  <a:pt x="552" y="822"/>
                </a:lnTo>
                <a:lnTo>
                  <a:pt x="552" y="828"/>
                </a:lnTo>
                <a:lnTo>
                  <a:pt x="552" y="834"/>
                </a:lnTo>
                <a:lnTo>
                  <a:pt x="546" y="834"/>
                </a:lnTo>
                <a:lnTo>
                  <a:pt x="546" y="840"/>
                </a:lnTo>
                <a:lnTo>
                  <a:pt x="546" y="834"/>
                </a:lnTo>
                <a:lnTo>
                  <a:pt x="546" y="840"/>
                </a:lnTo>
                <a:lnTo>
                  <a:pt x="546" y="846"/>
                </a:lnTo>
                <a:lnTo>
                  <a:pt x="552" y="846"/>
                </a:lnTo>
                <a:lnTo>
                  <a:pt x="552" y="852"/>
                </a:lnTo>
                <a:lnTo>
                  <a:pt x="546" y="852"/>
                </a:lnTo>
                <a:lnTo>
                  <a:pt x="546" y="858"/>
                </a:lnTo>
                <a:lnTo>
                  <a:pt x="546" y="864"/>
                </a:lnTo>
                <a:lnTo>
                  <a:pt x="552" y="864"/>
                </a:lnTo>
                <a:lnTo>
                  <a:pt x="552" y="870"/>
                </a:lnTo>
                <a:lnTo>
                  <a:pt x="546" y="870"/>
                </a:lnTo>
                <a:lnTo>
                  <a:pt x="546" y="876"/>
                </a:lnTo>
                <a:lnTo>
                  <a:pt x="540" y="876"/>
                </a:lnTo>
                <a:lnTo>
                  <a:pt x="534" y="876"/>
                </a:lnTo>
                <a:lnTo>
                  <a:pt x="534" y="882"/>
                </a:lnTo>
                <a:lnTo>
                  <a:pt x="534" y="876"/>
                </a:lnTo>
                <a:lnTo>
                  <a:pt x="540" y="876"/>
                </a:lnTo>
                <a:lnTo>
                  <a:pt x="540" y="882"/>
                </a:lnTo>
                <a:lnTo>
                  <a:pt x="546" y="888"/>
                </a:lnTo>
                <a:lnTo>
                  <a:pt x="546" y="882"/>
                </a:lnTo>
                <a:lnTo>
                  <a:pt x="552" y="882"/>
                </a:lnTo>
                <a:lnTo>
                  <a:pt x="552" y="888"/>
                </a:lnTo>
                <a:lnTo>
                  <a:pt x="558" y="888"/>
                </a:lnTo>
                <a:lnTo>
                  <a:pt x="564" y="888"/>
                </a:lnTo>
                <a:lnTo>
                  <a:pt x="564" y="882"/>
                </a:lnTo>
                <a:lnTo>
                  <a:pt x="564" y="888"/>
                </a:lnTo>
                <a:lnTo>
                  <a:pt x="570" y="882"/>
                </a:lnTo>
                <a:lnTo>
                  <a:pt x="576" y="882"/>
                </a:lnTo>
                <a:lnTo>
                  <a:pt x="576" y="876"/>
                </a:lnTo>
                <a:lnTo>
                  <a:pt x="582" y="876"/>
                </a:lnTo>
                <a:lnTo>
                  <a:pt x="588" y="876"/>
                </a:lnTo>
                <a:lnTo>
                  <a:pt x="588" y="882"/>
                </a:lnTo>
                <a:lnTo>
                  <a:pt x="588" y="888"/>
                </a:lnTo>
                <a:lnTo>
                  <a:pt x="588" y="894"/>
                </a:lnTo>
                <a:lnTo>
                  <a:pt x="588" y="900"/>
                </a:lnTo>
                <a:lnTo>
                  <a:pt x="594" y="900"/>
                </a:lnTo>
                <a:lnTo>
                  <a:pt x="594" y="906"/>
                </a:lnTo>
                <a:lnTo>
                  <a:pt x="594" y="912"/>
                </a:lnTo>
                <a:lnTo>
                  <a:pt x="594" y="918"/>
                </a:lnTo>
                <a:lnTo>
                  <a:pt x="600" y="918"/>
                </a:lnTo>
                <a:lnTo>
                  <a:pt x="594" y="918"/>
                </a:lnTo>
                <a:lnTo>
                  <a:pt x="594" y="924"/>
                </a:lnTo>
                <a:lnTo>
                  <a:pt x="594" y="930"/>
                </a:lnTo>
                <a:lnTo>
                  <a:pt x="588" y="930"/>
                </a:lnTo>
                <a:lnTo>
                  <a:pt x="582" y="936"/>
                </a:lnTo>
                <a:lnTo>
                  <a:pt x="582" y="942"/>
                </a:lnTo>
                <a:lnTo>
                  <a:pt x="582" y="948"/>
                </a:lnTo>
                <a:lnTo>
                  <a:pt x="588" y="948"/>
                </a:lnTo>
                <a:lnTo>
                  <a:pt x="594" y="948"/>
                </a:lnTo>
                <a:lnTo>
                  <a:pt x="600" y="948"/>
                </a:lnTo>
                <a:lnTo>
                  <a:pt x="600" y="942"/>
                </a:lnTo>
                <a:lnTo>
                  <a:pt x="594" y="942"/>
                </a:lnTo>
                <a:lnTo>
                  <a:pt x="594" y="936"/>
                </a:lnTo>
                <a:lnTo>
                  <a:pt x="600" y="936"/>
                </a:lnTo>
                <a:lnTo>
                  <a:pt x="606" y="936"/>
                </a:lnTo>
                <a:lnTo>
                  <a:pt x="612" y="936"/>
                </a:lnTo>
                <a:lnTo>
                  <a:pt x="612" y="942"/>
                </a:lnTo>
                <a:lnTo>
                  <a:pt x="618" y="942"/>
                </a:lnTo>
                <a:lnTo>
                  <a:pt x="618" y="936"/>
                </a:lnTo>
                <a:lnTo>
                  <a:pt x="624" y="936"/>
                </a:lnTo>
                <a:lnTo>
                  <a:pt x="630" y="936"/>
                </a:lnTo>
                <a:lnTo>
                  <a:pt x="636" y="936"/>
                </a:lnTo>
                <a:lnTo>
                  <a:pt x="636" y="942"/>
                </a:lnTo>
                <a:lnTo>
                  <a:pt x="642" y="942"/>
                </a:lnTo>
                <a:lnTo>
                  <a:pt x="648" y="942"/>
                </a:lnTo>
                <a:lnTo>
                  <a:pt x="648" y="948"/>
                </a:lnTo>
                <a:lnTo>
                  <a:pt x="648" y="942"/>
                </a:lnTo>
                <a:lnTo>
                  <a:pt x="648" y="948"/>
                </a:lnTo>
                <a:lnTo>
                  <a:pt x="648" y="954"/>
                </a:lnTo>
                <a:lnTo>
                  <a:pt x="648" y="960"/>
                </a:lnTo>
                <a:lnTo>
                  <a:pt x="648" y="966"/>
                </a:lnTo>
                <a:lnTo>
                  <a:pt x="654" y="966"/>
                </a:lnTo>
                <a:lnTo>
                  <a:pt x="654" y="972"/>
                </a:lnTo>
                <a:lnTo>
                  <a:pt x="654" y="978"/>
                </a:lnTo>
                <a:lnTo>
                  <a:pt x="660" y="978"/>
                </a:lnTo>
                <a:lnTo>
                  <a:pt x="660" y="984"/>
                </a:lnTo>
                <a:lnTo>
                  <a:pt x="666" y="984"/>
                </a:lnTo>
                <a:lnTo>
                  <a:pt x="666" y="990"/>
                </a:lnTo>
                <a:lnTo>
                  <a:pt x="666" y="996"/>
                </a:lnTo>
                <a:lnTo>
                  <a:pt x="672" y="996"/>
                </a:lnTo>
                <a:lnTo>
                  <a:pt x="678" y="996"/>
                </a:lnTo>
                <a:lnTo>
                  <a:pt x="684" y="996"/>
                </a:lnTo>
                <a:lnTo>
                  <a:pt x="684" y="1002"/>
                </a:lnTo>
                <a:lnTo>
                  <a:pt x="690" y="1002"/>
                </a:lnTo>
                <a:lnTo>
                  <a:pt x="690" y="996"/>
                </a:lnTo>
                <a:lnTo>
                  <a:pt x="690" y="1002"/>
                </a:lnTo>
                <a:lnTo>
                  <a:pt x="696" y="1002"/>
                </a:lnTo>
                <a:lnTo>
                  <a:pt x="696" y="996"/>
                </a:lnTo>
                <a:lnTo>
                  <a:pt x="702" y="996"/>
                </a:lnTo>
                <a:lnTo>
                  <a:pt x="708" y="996"/>
                </a:lnTo>
                <a:lnTo>
                  <a:pt x="708" y="1002"/>
                </a:lnTo>
                <a:lnTo>
                  <a:pt x="714" y="996"/>
                </a:lnTo>
                <a:lnTo>
                  <a:pt x="714" y="1002"/>
                </a:lnTo>
                <a:lnTo>
                  <a:pt x="720" y="1002"/>
                </a:lnTo>
                <a:lnTo>
                  <a:pt x="726" y="1002"/>
                </a:lnTo>
                <a:lnTo>
                  <a:pt x="726" y="996"/>
                </a:lnTo>
                <a:lnTo>
                  <a:pt x="726" y="990"/>
                </a:lnTo>
                <a:lnTo>
                  <a:pt x="726" y="996"/>
                </a:lnTo>
                <a:lnTo>
                  <a:pt x="732" y="996"/>
                </a:lnTo>
                <a:lnTo>
                  <a:pt x="732" y="1002"/>
                </a:lnTo>
                <a:lnTo>
                  <a:pt x="738" y="1002"/>
                </a:lnTo>
                <a:lnTo>
                  <a:pt x="738" y="1008"/>
                </a:lnTo>
                <a:lnTo>
                  <a:pt x="744" y="1008"/>
                </a:lnTo>
                <a:lnTo>
                  <a:pt x="744" y="1014"/>
                </a:lnTo>
                <a:lnTo>
                  <a:pt x="744" y="1020"/>
                </a:lnTo>
                <a:lnTo>
                  <a:pt x="744" y="1026"/>
                </a:lnTo>
                <a:lnTo>
                  <a:pt x="744" y="1020"/>
                </a:lnTo>
                <a:lnTo>
                  <a:pt x="744" y="1026"/>
                </a:lnTo>
                <a:lnTo>
                  <a:pt x="738" y="1026"/>
                </a:lnTo>
                <a:lnTo>
                  <a:pt x="738" y="1032"/>
                </a:lnTo>
                <a:lnTo>
                  <a:pt x="732" y="1038"/>
                </a:lnTo>
                <a:lnTo>
                  <a:pt x="732" y="1044"/>
                </a:lnTo>
                <a:lnTo>
                  <a:pt x="726" y="1044"/>
                </a:lnTo>
                <a:lnTo>
                  <a:pt x="720" y="1044"/>
                </a:lnTo>
                <a:lnTo>
                  <a:pt x="720" y="1050"/>
                </a:lnTo>
                <a:lnTo>
                  <a:pt x="720" y="1056"/>
                </a:lnTo>
                <a:lnTo>
                  <a:pt x="714" y="1056"/>
                </a:lnTo>
                <a:lnTo>
                  <a:pt x="714" y="1062"/>
                </a:lnTo>
                <a:lnTo>
                  <a:pt x="720" y="1062"/>
                </a:lnTo>
                <a:lnTo>
                  <a:pt x="720" y="1068"/>
                </a:lnTo>
                <a:lnTo>
                  <a:pt x="720" y="1074"/>
                </a:lnTo>
                <a:lnTo>
                  <a:pt x="726" y="1074"/>
                </a:lnTo>
                <a:lnTo>
                  <a:pt x="726" y="1068"/>
                </a:lnTo>
                <a:lnTo>
                  <a:pt x="732" y="1068"/>
                </a:lnTo>
                <a:lnTo>
                  <a:pt x="732" y="1074"/>
                </a:lnTo>
                <a:lnTo>
                  <a:pt x="738" y="1074"/>
                </a:lnTo>
                <a:lnTo>
                  <a:pt x="738" y="1068"/>
                </a:lnTo>
                <a:lnTo>
                  <a:pt x="744" y="1068"/>
                </a:lnTo>
                <a:lnTo>
                  <a:pt x="750" y="1062"/>
                </a:lnTo>
                <a:lnTo>
                  <a:pt x="756" y="1062"/>
                </a:lnTo>
                <a:lnTo>
                  <a:pt x="756" y="1068"/>
                </a:lnTo>
                <a:lnTo>
                  <a:pt x="762" y="1068"/>
                </a:lnTo>
                <a:lnTo>
                  <a:pt x="762" y="1074"/>
                </a:lnTo>
                <a:lnTo>
                  <a:pt x="768" y="1074"/>
                </a:lnTo>
                <a:lnTo>
                  <a:pt x="768" y="1080"/>
                </a:lnTo>
                <a:lnTo>
                  <a:pt x="768" y="1086"/>
                </a:lnTo>
                <a:lnTo>
                  <a:pt x="762" y="1086"/>
                </a:lnTo>
                <a:lnTo>
                  <a:pt x="762" y="1092"/>
                </a:lnTo>
                <a:lnTo>
                  <a:pt x="768" y="1092"/>
                </a:lnTo>
                <a:lnTo>
                  <a:pt x="768" y="1098"/>
                </a:lnTo>
                <a:lnTo>
                  <a:pt x="774" y="1098"/>
                </a:lnTo>
                <a:lnTo>
                  <a:pt x="774" y="1104"/>
                </a:lnTo>
                <a:lnTo>
                  <a:pt x="774" y="1110"/>
                </a:lnTo>
                <a:lnTo>
                  <a:pt x="768" y="1122"/>
                </a:lnTo>
                <a:lnTo>
                  <a:pt x="762" y="1122"/>
                </a:lnTo>
                <a:lnTo>
                  <a:pt x="756" y="1122"/>
                </a:lnTo>
                <a:lnTo>
                  <a:pt x="750" y="1122"/>
                </a:lnTo>
                <a:lnTo>
                  <a:pt x="750" y="1128"/>
                </a:lnTo>
                <a:lnTo>
                  <a:pt x="750" y="1134"/>
                </a:lnTo>
                <a:lnTo>
                  <a:pt x="744" y="1134"/>
                </a:lnTo>
                <a:lnTo>
                  <a:pt x="744" y="1140"/>
                </a:lnTo>
                <a:lnTo>
                  <a:pt x="738" y="1140"/>
                </a:lnTo>
                <a:lnTo>
                  <a:pt x="738" y="1146"/>
                </a:lnTo>
                <a:lnTo>
                  <a:pt x="738" y="1152"/>
                </a:lnTo>
                <a:lnTo>
                  <a:pt x="732" y="1152"/>
                </a:lnTo>
                <a:lnTo>
                  <a:pt x="726" y="1158"/>
                </a:lnTo>
                <a:lnTo>
                  <a:pt x="726" y="1164"/>
                </a:lnTo>
                <a:lnTo>
                  <a:pt x="726" y="1170"/>
                </a:lnTo>
                <a:lnTo>
                  <a:pt x="720" y="1170"/>
                </a:lnTo>
                <a:lnTo>
                  <a:pt x="720" y="1176"/>
                </a:lnTo>
                <a:lnTo>
                  <a:pt x="720" y="1182"/>
                </a:lnTo>
                <a:lnTo>
                  <a:pt x="720" y="1188"/>
                </a:lnTo>
                <a:lnTo>
                  <a:pt x="714" y="1188"/>
                </a:lnTo>
                <a:lnTo>
                  <a:pt x="708" y="1188"/>
                </a:lnTo>
                <a:lnTo>
                  <a:pt x="702" y="1188"/>
                </a:lnTo>
                <a:lnTo>
                  <a:pt x="696" y="1188"/>
                </a:lnTo>
                <a:lnTo>
                  <a:pt x="696" y="1194"/>
                </a:lnTo>
                <a:lnTo>
                  <a:pt x="696" y="1188"/>
                </a:lnTo>
                <a:lnTo>
                  <a:pt x="690" y="1188"/>
                </a:lnTo>
                <a:lnTo>
                  <a:pt x="684" y="1194"/>
                </a:lnTo>
                <a:lnTo>
                  <a:pt x="678" y="1194"/>
                </a:lnTo>
                <a:lnTo>
                  <a:pt x="678" y="1188"/>
                </a:lnTo>
                <a:lnTo>
                  <a:pt x="672" y="1194"/>
                </a:lnTo>
                <a:lnTo>
                  <a:pt x="666" y="1200"/>
                </a:lnTo>
                <a:lnTo>
                  <a:pt x="666" y="1206"/>
                </a:lnTo>
                <a:lnTo>
                  <a:pt x="660" y="1206"/>
                </a:lnTo>
                <a:lnTo>
                  <a:pt x="660" y="1212"/>
                </a:lnTo>
                <a:lnTo>
                  <a:pt x="660" y="1218"/>
                </a:lnTo>
                <a:lnTo>
                  <a:pt x="654" y="1224"/>
                </a:lnTo>
                <a:lnTo>
                  <a:pt x="654" y="1230"/>
                </a:lnTo>
                <a:lnTo>
                  <a:pt x="654" y="1236"/>
                </a:lnTo>
                <a:lnTo>
                  <a:pt x="654" y="1242"/>
                </a:lnTo>
                <a:lnTo>
                  <a:pt x="654" y="1248"/>
                </a:lnTo>
                <a:lnTo>
                  <a:pt x="654" y="1254"/>
                </a:lnTo>
                <a:lnTo>
                  <a:pt x="654" y="1260"/>
                </a:lnTo>
                <a:lnTo>
                  <a:pt x="648" y="1260"/>
                </a:lnTo>
                <a:lnTo>
                  <a:pt x="648" y="1266"/>
                </a:lnTo>
                <a:lnTo>
                  <a:pt x="642" y="1266"/>
                </a:lnTo>
                <a:lnTo>
                  <a:pt x="642" y="1272"/>
                </a:lnTo>
                <a:lnTo>
                  <a:pt x="636" y="1278"/>
                </a:lnTo>
                <a:lnTo>
                  <a:pt x="642" y="1278"/>
                </a:lnTo>
                <a:lnTo>
                  <a:pt x="642" y="1284"/>
                </a:lnTo>
                <a:lnTo>
                  <a:pt x="642" y="1290"/>
                </a:lnTo>
                <a:lnTo>
                  <a:pt x="642" y="1296"/>
                </a:lnTo>
                <a:lnTo>
                  <a:pt x="636" y="1296"/>
                </a:lnTo>
                <a:lnTo>
                  <a:pt x="630" y="1296"/>
                </a:lnTo>
                <a:lnTo>
                  <a:pt x="624" y="1302"/>
                </a:lnTo>
                <a:lnTo>
                  <a:pt x="618" y="1302"/>
                </a:lnTo>
                <a:lnTo>
                  <a:pt x="612" y="1302"/>
                </a:lnTo>
                <a:lnTo>
                  <a:pt x="612" y="1308"/>
                </a:lnTo>
                <a:lnTo>
                  <a:pt x="606" y="1302"/>
                </a:lnTo>
                <a:lnTo>
                  <a:pt x="600" y="1302"/>
                </a:lnTo>
                <a:lnTo>
                  <a:pt x="594" y="1302"/>
                </a:lnTo>
                <a:lnTo>
                  <a:pt x="588" y="1296"/>
                </a:lnTo>
                <a:lnTo>
                  <a:pt x="582" y="1296"/>
                </a:lnTo>
                <a:lnTo>
                  <a:pt x="582" y="1302"/>
                </a:lnTo>
                <a:lnTo>
                  <a:pt x="576" y="1302"/>
                </a:lnTo>
                <a:lnTo>
                  <a:pt x="570" y="1308"/>
                </a:lnTo>
                <a:lnTo>
                  <a:pt x="570" y="1314"/>
                </a:lnTo>
                <a:lnTo>
                  <a:pt x="564" y="1314"/>
                </a:lnTo>
                <a:lnTo>
                  <a:pt x="558" y="1320"/>
                </a:lnTo>
                <a:lnTo>
                  <a:pt x="552" y="1320"/>
                </a:lnTo>
                <a:lnTo>
                  <a:pt x="546" y="1320"/>
                </a:lnTo>
                <a:lnTo>
                  <a:pt x="540" y="1320"/>
                </a:lnTo>
                <a:lnTo>
                  <a:pt x="534" y="1320"/>
                </a:lnTo>
                <a:lnTo>
                  <a:pt x="534" y="1314"/>
                </a:lnTo>
                <a:lnTo>
                  <a:pt x="534" y="1308"/>
                </a:lnTo>
                <a:lnTo>
                  <a:pt x="534" y="1302"/>
                </a:lnTo>
                <a:lnTo>
                  <a:pt x="540" y="1302"/>
                </a:lnTo>
                <a:lnTo>
                  <a:pt x="540" y="1296"/>
                </a:lnTo>
                <a:lnTo>
                  <a:pt x="540" y="1290"/>
                </a:lnTo>
                <a:lnTo>
                  <a:pt x="534" y="1284"/>
                </a:lnTo>
                <a:lnTo>
                  <a:pt x="528" y="1278"/>
                </a:lnTo>
                <a:lnTo>
                  <a:pt x="522" y="1278"/>
                </a:lnTo>
                <a:lnTo>
                  <a:pt x="522" y="1272"/>
                </a:lnTo>
                <a:lnTo>
                  <a:pt x="528" y="1266"/>
                </a:lnTo>
                <a:lnTo>
                  <a:pt x="522" y="1266"/>
                </a:lnTo>
                <a:lnTo>
                  <a:pt x="522" y="1260"/>
                </a:lnTo>
                <a:lnTo>
                  <a:pt x="522" y="1254"/>
                </a:lnTo>
                <a:lnTo>
                  <a:pt x="522" y="1248"/>
                </a:lnTo>
                <a:lnTo>
                  <a:pt x="522" y="1242"/>
                </a:lnTo>
                <a:lnTo>
                  <a:pt x="522" y="1236"/>
                </a:lnTo>
                <a:lnTo>
                  <a:pt x="516" y="1236"/>
                </a:lnTo>
                <a:lnTo>
                  <a:pt x="516" y="1230"/>
                </a:lnTo>
                <a:lnTo>
                  <a:pt x="510" y="1230"/>
                </a:lnTo>
                <a:lnTo>
                  <a:pt x="504" y="1230"/>
                </a:lnTo>
                <a:lnTo>
                  <a:pt x="498" y="1230"/>
                </a:lnTo>
                <a:lnTo>
                  <a:pt x="492" y="1230"/>
                </a:lnTo>
                <a:lnTo>
                  <a:pt x="486" y="1236"/>
                </a:lnTo>
                <a:lnTo>
                  <a:pt x="480" y="1236"/>
                </a:lnTo>
                <a:lnTo>
                  <a:pt x="474" y="1236"/>
                </a:lnTo>
                <a:lnTo>
                  <a:pt x="468" y="1236"/>
                </a:lnTo>
                <a:lnTo>
                  <a:pt x="462" y="1236"/>
                </a:lnTo>
                <a:lnTo>
                  <a:pt x="456" y="1236"/>
                </a:lnTo>
                <a:lnTo>
                  <a:pt x="456" y="1230"/>
                </a:lnTo>
                <a:lnTo>
                  <a:pt x="456" y="1224"/>
                </a:lnTo>
                <a:lnTo>
                  <a:pt x="462" y="1218"/>
                </a:lnTo>
                <a:lnTo>
                  <a:pt x="462" y="1212"/>
                </a:lnTo>
                <a:lnTo>
                  <a:pt x="462" y="1206"/>
                </a:lnTo>
                <a:lnTo>
                  <a:pt x="456" y="1206"/>
                </a:lnTo>
                <a:lnTo>
                  <a:pt x="456" y="1200"/>
                </a:lnTo>
                <a:lnTo>
                  <a:pt x="450" y="1200"/>
                </a:lnTo>
                <a:lnTo>
                  <a:pt x="450" y="1194"/>
                </a:lnTo>
                <a:lnTo>
                  <a:pt x="444" y="1194"/>
                </a:lnTo>
                <a:lnTo>
                  <a:pt x="444" y="1188"/>
                </a:lnTo>
                <a:lnTo>
                  <a:pt x="450" y="1188"/>
                </a:lnTo>
                <a:lnTo>
                  <a:pt x="444" y="1188"/>
                </a:lnTo>
                <a:lnTo>
                  <a:pt x="444" y="1182"/>
                </a:lnTo>
                <a:lnTo>
                  <a:pt x="450" y="1176"/>
                </a:lnTo>
                <a:lnTo>
                  <a:pt x="444" y="1176"/>
                </a:lnTo>
                <a:lnTo>
                  <a:pt x="438" y="1170"/>
                </a:lnTo>
                <a:lnTo>
                  <a:pt x="438" y="1164"/>
                </a:lnTo>
                <a:lnTo>
                  <a:pt x="438" y="1158"/>
                </a:lnTo>
                <a:lnTo>
                  <a:pt x="432" y="1158"/>
                </a:lnTo>
                <a:lnTo>
                  <a:pt x="438" y="1158"/>
                </a:lnTo>
                <a:lnTo>
                  <a:pt x="438" y="1152"/>
                </a:lnTo>
                <a:lnTo>
                  <a:pt x="432" y="1152"/>
                </a:lnTo>
                <a:lnTo>
                  <a:pt x="432" y="1146"/>
                </a:lnTo>
                <a:lnTo>
                  <a:pt x="432" y="1140"/>
                </a:lnTo>
                <a:lnTo>
                  <a:pt x="426" y="1134"/>
                </a:lnTo>
                <a:lnTo>
                  <a:pt x="426" y="1128"/>
                </a:lnTo>
                <a:lnTo>
                  <a:pt x="426" y="1122"/>
                </a:lnTo>
                <a:lnTo>
                  <a:pt x="426" y="1116"/>
                </a:lnTo>
                <a:lnTo>
                  <a:pt x="420" y="1110"/>
                </a:lnTo>
                <a:lnTo>
                  <a:pt x="414" y="1110"/>
                </a:lnTo>
                <a:lnTo>
                  <a:pt x="408" y="1110"/>
                </a:lnTo>
                <a:lnTo>
                  <a:pt x="402" y="1110"/>
                </a:lnTo>
                <a:lnTo>
                  <a:pt x="396" y="1116"/>
                </a:lnTo>
                <a:lnTo>
                  <a:pt x="390" y="1116"/>
                </a:lnTo>
                <a:lnTo>
                  <a:pt x="384" y="1116"/>
                </a:lnTo>
                <a:lnTo>
                  <a:pt x="384" y="1110"/>
                </a:lnTo>
                <a:lnTo>
                  <a:pt x="384" y="1116"/>
                </a:lnTo>
                <a:lnTo>
                  <a:pt x="378" y="1116"/>
                </a:lnTo>
                <a:lnTo>
                  <a:pt x="378" y="1110"/>
                </a:lnTo>
                <a:lnTo>
                  <a:pt x="378" y="1104"/>
                </a:lnTo>
                <a:lnTo>
                  <a:pt x="372" y="1104"/>
                </a:lnTo>
                <a:lnTo>
                  <a:pt x="372" y="1098"/>
                </a:lnTo>
                <a:lnTo>
                  <a:pt x="366" y="1098"/>
                </a:lnTo>
                <a:lnTo>
                  <a:pt x="360" y="1098"/>
                </a:lnTo>
                <a:lnTo>
                  <a:pt x="354" y="1098"/>
                </a:lnTo>
                <a:lnTo>
                  <a:pt x="348" y="1098"/>
                </a:lnTo>
                <a:lnTo>
                  <a:pt x="342" y="1098"/>
                </a:lnTo>
                <a:lnTo>
                  <a:pt x="336" y="1098"/>
                </a:lnTo>
                <a:lnTo>
                  <a:pt x="336" y="1092"/>
                </a:lnTo>
                <a:lnTo>
                  <a:pt x="330" y="1092"/>
                </a:lnTo>
                <a:lnTo>
                  <a:pt x="330" y="1086"/>
                </a:lnTo>
                <a:lnTo>
                  <a:pt x="330" y="1080"/>
                </a:lnTo>
                <a:lnTo>
                  <a:pt x="330" y="1074"/>
                </a:lnTo>
                <a:lnTo>
                  <a:pt x="330" y="1068"/>
                </a:lnTo>
                <a:lnTo>
                  <a:pt x="324" y="1068"/>
                </a:lnTo>
                <a:lnTo>
                  <a:pt x="318" y="1068"/>
                </a:lnTo>
                <a:lnTo>
                  <a:pt x="318" y="1062"/>
                </a:lnTo>
                <a:lnTo>
                  <a:pt x="318" y="1056"/>
                </a:lnTo>
                <a:lnTo>
                  <a:pt x="318" y="1050"/>
                </a:lnTo>
                <a:lnTo>
                  <a:pt x="312" y="1050"/>
                </a:lnTo>
                <a:lnTo>
                  <a:pt x="312" y="1044"/>
                </a:lnTo>
                <a:lnTo>
                  <a:pt x="306" y="1044"/>
                </a:lnTo>
                <a:lnTo>
                  <a:pt x="306" y="1038"/>
                </a:lnTo>
                <a:lnTo>
                  <a:pt x="306" y="1032"/>
                </a:lnTo>
                <a:lnTo>
                  <a:pt x="306" y="1026"/>
                </a:lnTo>
                <a:lnTo>
                  <a:pt x="300" y="1026"/>
                </a:lnTo>
                <a:lnTo>
                  <a:pt x="300" y="1020"/>
                </a:lnTo>
                <a:lnTo>
                  <a:pt x="294" y="1020"/>
                </a:lnTo>
                <a:lnTo>
                  <a:pt x="294" y="1014"/>
                </a:lnTo>
                <a:lnTo>
                  <a:pt x="288" y="1014"/>
                </a:lnTo>
                <a:lnTo>
                  <a:pt x="288" y="1008"/>
                </a:lnTo>
                <a:lnTo>
                  <a:pt x="288" y="1002"/>
                </a:lnTo>
                <a:lnTo>
                  <a:pt x="294" y="1002"/>
                </a:lnTo>
                <a:lnTo>
                  <a:pt x="294" y="996"/>
                </a:lnTo>
                <a:lnTo>
                  <a:pt x="300" y="996"/>
                </a:lnTo>
                <a:lnTo>
                  <a:pt x="294" y="990"/>
                </a:lnTo>
                <a:lnTo>
                  <a:pt x="300" y="990"/>
                </a:lnTo>
                <a:lnTo>
                  <a:pt x="300" y="984"/>
                </a:lnTo>
                <a:lnTo>
                  <a:pt x="306" y="984"/>
                </a:lnTo>
                <a:lnTo>
                  <a:pt x="300" y="978"/>
                </a:lnTo>
                <a:lnTo>
                  <a:pt x="294" y="978"/>
                </a:lnTo>
                <a:lnTo>
                  <a:pt x="288" y="978"/>
                </a:lnTo>
                <a:lnTo>
                  <a:pt x="288" y="972"/>
                </a:lnTo>
                <a:lnTo>
                  <a:pt x="288" y="978"/>
                </a:lnTo>
                <a:lnTo>
                  <a:pt x="288" y="972"/>
                </a:lnTo>
                <a:lnTo>
                  <a:pt x="282" y="972"/>
                </a:lnTo>
                <a:lnTo>
                  <a:pt x="282" y="966"/>
                </a:lnTo>
                <a:lnTo>
                  <a:pt x="288" y="966"/>
                </a:lnTo>
                <a:lnTo>
                  <a:pt x="288" y="960"/>
                </a:lnTo>
                <a:lnTo>
                  <a:pt x="282" y="960"/>
                </a:lnTo>
                <a:lnTo>
                  <a:pt x="288" y="954"/>
                </a:lnTo>
                <a:lnTo>
                  <a:pt x="288" y="948"/>
                </a:lnTo>
                <a:lnTo>
                  <a:pt x="282" y="948"/>
                </a:lnTo>
                <a:lnTo>
                  <a:pt x="282" y="942"/>
                </a:lnTo>
                <a:lnTo>
                  <a:pt x="282" y="936"/>
                </a:lnTo>
                <a:lnTo>
                  <a:pt x="276" y="936"/>
                </a:lnTo>
                <a:lnTo>
                  <a:pt x="276" y="942"/>
                </a:lnTo>
                <a:lnTo>
                  <a:pt x="270" y="936"/>
                </a:lnTo>
                <a:lnTo>
                  <a:pt x="264" y="936"/>
                </a:lnTo>
                <a:lnTo>
                  <a:pt x="270" y="936"/>
                </a:lnTo>
                <a:lnTo>
                  <a:pt x="264" y="936"/>
                </a:lnTo>
                <a:lnTo>
                  <a:pt x="264" y="942"/>
                </a:lnTo>
                <a:lnTo>
                  <a:pt x="264" y="948"/>
                </a:lnTo>
                <a:lnTo>
                  <a:pt x="270" y="948"/>
                </a:lnTo>
                <a:lnTo>
                  <a:pt x="270" y="954"/>
                </a:lnTo>
                <a:lnTo>
                  <a:pt x="264" y="954"/>
                </a:lnTo>
                <a:lnTo>
                  <a:pt x="258" y="954"/>
                </a:lnTo>
                <a:lnTo>
                  <a:pt x="252" y="954"/>
                </a:lnTo>
                <a:lnTo>
                  <a:pt x="246" y="954"/>
                </a:lnTo>
                <a:lnTo>
                  <a:pt x="240" y="954"/>
                </a:lnTo>
                <a:lnTo>
                  <a:pt x="240" y="948"/>
                </a:lnTo>
                <a:lnTo>
                  <a:pt x="234" y="948"/>
                </a:lnTo>
                <a:lnTo>
                  <a:pt x="228" y="948"/>
                </a:lnTo>
                <a:lnTo>
                  <a:pt x="228" y="942"/>
                </a:lnTo>
                <a:lnTo>
                  <a:pt x="222" y="942"/>
                </a:lnTo>
                <a:lnTo>
                  <a:pt x="216" y="942"/>
                </a:lnTo>
                <a:lnTo>
                  <a:pt x="210" y="942"/>
                </a:lnTo>
                <a:lnTo>
                  <a:pt x="210" y="930"/>
                </a:lnTo>
                <a:lnTo>
                  <a:pt x="204" y="930"/>
                </a:lnTo>
                <a:lnTo>
                  <a:pt x="204" y="936"/>
                </a:lnTo>
                <a:lnTo>
                  <a:pt x="198" y="936"/>
                </a:lnTo>
                <a:lnTo>
                  <a:pt x="192" y="936"/>
                </a:lnTo>
                <a:lnTo>
                  <a:pt x="186" y="936"/>
                </a:lnTo>
                <a:lnTo>
                  <a:pt x="180" y="936"/>
                </a:lnTo>
                <a:lnTo>
                  <a:pt x="174" y="936"/>
                </a:lnTo>
                <a:lnTo>
                  <a:pt x="174" y="930"/>
                </a:lnTo>
                <a:lnTo>
                  <a:pt x="168" y="930"/>
                </a:lnTo>
                <a:lnTo>
                  <a:pt x="162" y="930"/>
                </a:lnTo>
                <a:lnTo>
                  <a:pt x="162" y="936"/>
                </a:lnTo>
                <a:lnTo>
                  <a:pt x="168" y="936"/>
                </a:lnTo>
                <a:lnTo>
                  <a:pt x="168" y="942"/>
                </a:lnTo>
                <a:lnTo>
                  <a:pt x="162" y="942"/>
                </a:lnTo>
                <a:lnTo>
                  <a:pt x="168" y="942"/>
                </a:lnTo>
                <a:lnTo>
                  <a:pt x="168" y="948"/>
                </a:lnTo>
                <a:lnTo>
                  <a:pt x="162" y="948"/>
                </a:lnTo>
                <a:lnTo>
                  <a:pt x="162" y="942"/>
                </a:lnTo>
                <a:lnTo>
                  <a:pt x="162" y="948"/>
                </a:lnTo>
                <a:lnTo>
                  <a:pt x="156" y="954"/>
                </a:lnTo>
                <a:lnTo>
                  <a:pt x="150" y="954"/>
                </a:lnTo>
                <a:lnTo>
                  <a:pt x="144" y="948"/>
                </a:lnTo>
                <a:lnTo>
                  <a:pt x="138" y="948"/>
                </a:lnTo>
                <a:lnTo>
                  <a:pt x="132" y="942"/>
                </a:lnTo>
                <a:lnTo>
                  <a:pt x="132" y="936"/>
                </a:lnTo>
                <a:lnTo>
                  <a:pt x="132" y="930"/>
                </a:lnTo>
                <a:lnTo>
                  <a:pt x="132" y="924"/>
                </a:lnTo>
                <a:lnTo>
                  <a:pt x="132" y="918"/>
                </a:lnTo>
                <a:lnTo>
                  <a:pt x="126" y="918"/>
                </a:lnTo>
                <a:lnTo>
                  <a:pt x="120" y="918"/>
                </a:lnTo>
                <a:lnTo>
                  <a:pt x="114" y="918"/>
                </a:lnTo>
                <a:lnTo>
                  <a:pt x="108" y="918"/>
                </a:lnTo>
                <a:lnTo>
                  <a:pt x="102" y="918"/>
                </a:lnTo>
                <a:lnTo>
                  <a:pt x="102" y="924"/>
                </a:lnTo>
                <a:lnTo>
                  <a:pt x="102" y="918"/>
                </a:lnTo>
                <a:lnTo>
                  <a:pt x="96" y="918"/>
                </a:lnTo>
                <a:lnTo>
                  <a:pt x="96" y="912"/>
                </a:lnTo>
                <a:lnTo>
                  <a:pt x="96" y="906"/>
                </a:lnTo>
                <a:lnTo>
                  <a:pt x="96" y="900"/>
                </a:lnTo>
                <a:lnTo>
                  <a:pt x="90" y="900"/>
                </a:lnTo>
                <a:lnTo>
                  <a:pt x="84" y="900"/>
                </a:lnTo>
                <a:lnTo>
                  <a:pt x="78" y="900"/>
                </a:lnTo>
                <a:lnTo>
                  <a:pt x="72" y="900"/>
                </a:lnTo>
                <a:lnTo>
                  <a:pt x="72" y="906"/>
                </a:lnTo>
                <a:lnTo>
                  <a:pt x="72" y="912"/>
                </a:lnTo>
                <a:lnTo>
                  <a:pt x="66" y="912"/>
                </a:lnTo>
                <a:lnTo>
                  <a:pt x="60" y="906"/>
                </a:lnTo>
                <a:lnTo>
                  <a:pt x="54" y="906"/>
                </a:lnTo>
                <a:lnTo>
                  <a:pt x="54" y="900"/>
                </a:lnTo>
                <a:lnTo>
                  <a:pt x="54" y="906"/>
                </a:lnTo>
                <a:lnTo>
                  <a:pt x="48" y="906"/>
                </a:lnTo>
                <a:lnTo>
                  <a:pt x="42" y="906"/>
                </a:lnTo>
                <a:lnTo>
                  <a:pt x="42" y="900"/>
                </a:lnTo>
                <a:lnTo>
                  <a:pt x="36" y="900"/>
                </a:lnTo>
                <a:lnTo>
                  <a:pt x="36" y="894"/>
                </a:lnTo>
                <a:lnTo>
                  <a:pt x="30" y="894"/>
                </a:lnTo>
                <a:lnTo>
                  <a:pt x="36" y="888"/>
                </a:lnTo>
                <a:lnTo>
                  <a:pt x="36" y="882"/>
                </a:lnTo>
                <a:lnTo>
                  <a:pt x="30" y="882"/>
                </a:lnTo>
                <a:lnTo>
                  <a:pt x="30" y="876"/>
                </a:lnTo>
                <a:lnTo>
                  <a:pt x="30" y="870"/>
                </a:lnTo>
                <a:lnTo>
                  <a:pt x="24" y="870"/>
                </a:lnTo>
                <a:lnTo>
                  <a:pt x="18" y="870"/>
                </a:lnTo>
                <a:lnTo>
                  <a:pt x="18" y="864"/>
                </a:lnTo>
                <a:lnTo>
                  <a:pt x="12" y="864"/>
                </a:lnTo>
                <a:lnTo>
                  <a:pt x="12" y="858"/>
                </a:lnTo>
                <a:lnTo>
                  <a:pt x="6" y="858"/>
                </a:lnTo>
                <a:lnTo>
                  <a:pt x="0" y="858"/>
                </a:lnTo>
                <a:lnTo>
                  <a:pt x="0" y="852"/>
                </a:lnTo>
                <a:lnTo>
                  <a:pt x="0" y="846"/>
                </a:lnTo>
                <a:lnTo>
                  <a:pt x="6" y="846"/>
                </a:lnTo>
                <a:lnTo>
                  <a:pt x="6" y="840"/>
                </a:lnTo>
                <a:lnTo>
                  <a:pt x="6" y="834"/>
                </a:lnTo>
                <a:lnTo>
                  <a:pt x="6" y="828"/>
                </a:lnTo>
                <a:lnTo>
                  <a:pt x="6" y="822"/>
                </a:lnTo>
                <a:lnTo>
                  <a:pt x="12" y="822"/>
                </a:lnTo>
                <a:lnTo>
                  <a:pt x="12" y="816"/>
                </a:lnTo>
                <a:lnTo>
                  <a:pt x="6" y="810"/>
                </a:lnTo>
                <a:lnTo>
                  <a:pt x="6" y="804"/>
                </a:lnTo>
                <a:lnTo>
                  <a:pt x="6" y="798"/>
                </a:lnTo>
                <a:lnTo>
                  <a:pt x="0" y="798"/>
                </a:lnTo>
                <a:lnTo>
                  <a:pt x="0" y="792"/>
                </a:lnTo>
                <a:lnTo>
                  <a:pt x="6" y="786"/>
                </a:lnTo>
                <a:lnTo>
                  <a:pt x="6" y="780"/>
                </a:lnTo>
                <a:lnTo>
                  <a:pt x="0" y="780"/>
                </a:lnTo>
                <a:lnTo>
                  <a:pt x="0" y="774"/>
                </a:lnTo>
                <a:lnTo>
                  <a:pt x="6" y="768"/>
                </a:lnTo>
                <a:lnTo>
                  <a:pt x="12" y="768"/>
                </a:lnTo>
                <a:lnTo>
                  <a:pt x="18" y="768"/>
                </a:lnTo>
                <a:lnTo>
                  <a:pt x="18" y="762"/>
                </a:lnTo>
                <a:lnTo>
                  <a:pt x="24" y="768"/>
                </a:lnTo>
                <a:lnTo>
                  <a:pt x="30" y="768"/>
                </a:lnTo>
                <a:lnTo>
                  <a:pt x="30" y="762"/>
                </a:lnTo>
                <a:lnTo>
                  <a:pt x="36" y="762"/>
                </a:lnTo>
                <a:lnTo>
                  <a:pt x="36" y="756"/>
                </a:lnTo>
                <a:lnTo>
                  <a:pt x="42" y="756"/>
                </a:lnTo>
                <a:lnTo>
                  <a:pt x="48" y="756"/>
                </a:lnTo>
                <a:lnTo>
                  <a:pt x="48" y="750"/>
                </a:lnTo>
                <a:lnTo>
                  <a:pt x="54" y="750"/>
                </a:lnTo>
                <a:lnTo>
                  <a:pt x="54" y="756"/>
                </a:lnTo>
                <a:lnTo>
                  <a:pt x="60" y="756"/>
                </a:lnTo>
                <a:lnTo>
                  <a:pt x="66" y="756"/>
                </a:lnTo>
                <a:lnTo>
                  <a:pt x="66" y="750"/>
                </a:lnTo>
                <a:lnTo>
                  <a:pt x="72" y="750"/>
                </a:lnTo>
                <a:lnTo>
                  <a:pt x="78" y="750"/>
                </a:lnTo>
                <a:lnTo>
                  <a:pt x="84" y="750"/>
                </a:lnTo>
                <a:lnTo>
                  <a:pt x="90" y="750"/>
                </a:lnTo>
                <a:lnTo>
                  <a:pt x="96" y="750"/>
                </a:lnTo>
                <a:lnTo>
                  <a:pt x="96" y="744"/>
                </a:lnTo>
                <a:lnTo>
                  <a:pt x="96" y="738"/>
                </a:lnTo>
                <a:lnTo>
                  <a:pt x="90" y="738"/>
                </a:lnTo>
                <a:lnTo>
                  <a:pt x="90" y="744"/>
                </a:lnTo>
                <a:lnTo>
                  <a:pt x="90" y="738"/>
                </a:lnTo>
                <a:lnTo>
                  <a:pt x="90" y="732"/>
                </a:lnTo>
                <a:lnTo>
                  <a:pt x="84" y="726"/>
                </a:lnTo>
                <a:lnTo>
                  <a:pt x="90" y="726"/>
                </a:lnTo>
                <a:lnTo>
                  <a:pt x="96" y="720"/>
                </a:lnTo>
                <a:lnTo>
                  <a:pt x="102" y="720"/>
                </a:lnTo>
                <a:lnTo>
                  <a:pt x="108" y="714"/>
                </a:lnTo>
                <a:lnTo>
                  <a:pt x="114" y="714"/>
                </a:lnTo>
                <a:lnTo>
                  <a:pt x="120" y="714"/>
                </a:lnTo>
                <a:lnTo>
                  <a:pt x="126" y="714"/>
                </a:lnTo>
                <a:lnTo>
                  <a:pt x="126" y="702"/>
                </a:lnTo>
                <a:lnTo>
                  <a:pt x="132" y="702"/>
                </a:lnTo>
                <a:lnTo>
                  <a:pt x="132" y="696"/>
                </a:lnTo>
                <a:lnTo>
                  <a:pt x="138" y="696"/>
                </a:lnTo>
                <a:lnTo>
                  <a:pt x="144" y="696"/>
                </a:lnTo>
                <a:lnTo>
                  <a:pt x="144" y="684"/>
                </a:lnTo>
                <a:lnTo>
                  <a:pt x="150" y="684"/>
                </a:lnTo>
                <a:lnTo>
                  <a:pt x="156" y="684"/>
                </a:lnTo>
                <a:lnTo>
                  <a:pt x="162" y="684"/>
                </a:lnTo>
                <a:lnTo>
                  <a:pt x="168" y="684"/>
                </a:lnTo>
                <a:lnTo>
                  <a:pt x="174" y="684"/>
                </a:lnTo>
                <a:lnTo>
                  <a:pt x="180" y="684"/>
                </a:lnTo>
                <a:lnTo>
                  <a:pt x="174" y="678"/>
                </a:lnTo>
                <a:lnTo>
                  <a:pt x="180" y="678"/>
                </a:lnTo>
                <a:lnTo>
                  <a:pt x="180" y="672"/>
                </a:lnTo>
                <a:lnTo>
                  <a:pt x="174" y="672"/>
                </a:lnTo>
                <a:lnTo>
                  <a:pt x="174" y="666"/>
                </a:lnTo>
                <a:lnTo>
                  <a:pt x="168" y="666"/>
                </a:lnTo>
                <a:lnTo>
                  <a:pt x="162" y="666"/>
                </a:lnTo>
                <a:lnTo>
                  <a:pt x="162" y="660"/>
                </a:lnTo>
                <a:lnTo>
                  <a:pt x="168" y="660"/>
                </a:lnTo>
                <a:lnTo>
                  <a:pt x="168" y="654"/>
                </a:lnTo>
                <a:lnTo>
                  <a:pt x="162" y="654"/>
                </a:lnTo>
                <a:lnTo>
                  <a:pt x="162" y="648"/>
                </a:lnTo>
                <a:lnTo>
                  <a:pt x="156" y="648"/>
                </a:lnTo>
                <a:lnTo>
                  <a:pt x="156" y="642"/>
                </a:lnTo>
                <a:lnTo>
                  <a:pt x="162" y="642"/>
                </a:lnTo>
                <a:lnTo>
                  <a:pt x="162" y="636"/>
                </a:lnTo>
                <a:lnTo>
                  <a:pt x="168" y="636"/>
                </a:lnTo>
                <a:lnTo>
                  <a:pt x="162" y="630"/>
                </a:lnTo>
                <a:lnTo>
                  <a:pt x="156" y="624"/>
                </a:lnTo>
                <a:lnTo>
                  <a:pt x="156" y="618"/>
                </a:lnTo>
                <a:lnTo>
                  <a:pt x="150" y="618"/>
                </a:lnTo>
                <a:lnTo>
                  <a:pt x="144" y="618"/>
                </a:lnTo>
                <a:lnTo>
                  <a:pt x="144" y="612"/>
                </a:lnTo>
                <a:lnTo>
                  <a:pt x="138" y="612"/>
                </a:lnTo>
                <a:lnTo>
                  <a:pt x="132" y="606"/>
                </a:lnTo>
                <a:lnTo>
                  <a:pt x="144" y="606"/>
                </a:lnTo>
                <a:lnTo>
                  <a:pt x="144" y="600"/>
                </a:lnTo>
                <a:lnTo>
                  <a:pt x="150" y="600"/>
                </a:lnTo>
                <a:lnTo>
                  <a:pt x="150" y="594"/>
                </a:lnTo>
                <a:lnTo>
                  <a:pt x="144" y="594"/>
                </a:lnTo>
                <a:lnTo>
                  <a:pt x="144" y="588"/>
                </a:lnTo>
                <a:lnTo>
                  <a:pt x="150" y="588"/>
                </a:lnTo>
                <a:lnTo>
                  <a:pt x="150" y="582"/>
                </a:lnTo>
                <a:lnTo>
                  <a:pt x="150" y="576"/>
                </a:lnTo>
                <a:lnTo>
                  <a:pt x="144" y="576"/>
                </a:lnTo>
                <a:lnTo>
                  <a:pt x="144" y="570"/>
                </a:lnTo>
                <a:lnTo>
                  <a:pt x="144" y="564"/>
                </a:lnTo>
                <a:lnTo>
                  <a:pt x="138" y="564"/>
                </a:lnTo>
                <a:lnTo>
                  <a:pt x="132" y="558"/>
                </a:lnTo>
                <a:lnTo>
                  <a:pt x="132" y="552"/>
                </a:lnTo>
                <a:lnTo>
                  <a:pt x="138" y="552"/>
                </a:lnTo>
                <a:lnTo>
                  <a:pt x="144" y="552"/>
                </a:lnTo>
                <a:lnTo>
                  <a:pt x="144" y="546"/>
                </a:lnTo>
                <a:lnTo>
                  <a:pt x="144" y="540"/>
                </a:lnTo>
                <a:lnTo>
                  <a:pt x="138" y="534"/>
                </a:lnTo>
                <a:lnTo>
                  <a:pt x="138" y="528"/>
                </a:lnTo>
                <a:lnTo>
                  <a:pt x="144" y="528"/>
                </a:lnTo>
                <a:lnTo>
                  <a:pt x="144" y="522"/>
                </a:lnTo>
                <a:lnTo>
                  <a:pt x="138" y="522"/>
                </a:lnTo>
                <a:lnTo>
                  <a:pt x="138" y="516"/>
                </a:lnTo>
                <a:lnTo>
                  <a:pt x="138" y="510"/>
                </a:lnTo>
                <a:lnTo>
                  <a:pt x="144" y="510"/>
                </a:lnTo>
                <a:lnTo>
                  <a:pt x="150" y="510"/>
                </a:lnTo>
                <a:lnTo>
                  <a:pt x="150" y="516"/>
                </a:lnTo>
                <a:lnTo>
                  <a:pt x="156" y="516"/>
                </a:lnTo>
                <a:lnTo>
                  <a:pt x="156" y="510"/>
                </a:lnTo>
                <a:lnTo>
                  <a:pt x="162" y="510"/>
                </a:lnTo>
                <a:lnTo>
                  <a:pt x="168" y="504"/>
                </a:lnTo>
                <a:lnTo>
                  <a:pt x="174" y="510"/>
                </a:lnTo>
                <a:lnTo>
                  <a:pt x="168" y="522"/>
                </a:lnTo>
                <a:lnTo>
                  <a:pt x="174" y="522"/>
                </a:lnTo>
                <a:lnTo>
                  <a:pt x="186" y="522"/>
                </a:lnTo>
                <a:lnTo>
                  <a:pt x="186" y="516"/>
                </a:lnTo>
                <a:lnTo>
                  <a:pt x="186" y="510"/>
                </a:lnTo>
                <a:lnTo>
                  <a:pt x="180" y="510"/>
                </a:lnTo>
                <a:lnTo>
                  <a:pt x="180" y="504"/>
                </a:lnTo>
                <a:lnTo>
                  <a:pt x="180" y="498"/>
                </a:lnTo>
                <a:lnTo>
                  <a:pt x="174" y="498"/>
                </a:lnTo>
                <a:lnTo>
                  <a:pt x="174" y="486"/>
                </a:lnTo>
                <a:lnTo>
                  <a:pt x="168" y="492"/>
                </a:lnTo>
                <a:lnTo>
                  <a:pt x="162" y="486"/>
                </a:lnTo>
                <a:lnTo>
                  <a:pt x="162" y="480"/>
                </a:lnTo>
                <a:lnTo>
                  <a:pt x="162" y="474"/>
                </a:lnTo>
                <a:lnTo>
                  <a:pt x="156" y="474"/>
                </a:lnTo>
                <a:lnTo>
                  <a:pt x="156" y="468"/>
                </a:lnTo>
                <a:lnTo>
                  <a:pt x="156" y="462"/>
                </a:lnTo>
                <a:lnTo>
                  <a:pt x="156" y="456"/>
                </a:lnTo>
                <a:lnTo>
                  <a:pt x="162" y="456"/>
                </a:lnTo>
                <a:lnTo>
                  <a:pt x="162" y="450"/>
                </a:lnTo>
                <a:lnTo>
                  <a:pt x="168" y="450"/>
                </a:lnTo>
                <a:lnTo>
                  <a:pt x="174" y="450"/>
                </a:lnTo>
                <a:lnTo>
                  <a:pt x="180" y="450"/>
                </a:lnTo>
                <a:lnTo>
                  <a:pt x="186" y="450"/>
                </a:lnTo>
                <a:lnTo>
                  <a:pt x="192" y="450"/>
                </a:lnTo>
                <a:lnTo>
                  <a:pt x="198" y="450"/>
                </a:lnTo>
                <a:lnTo>
                  <a:pt x="204" y="450"/>
                </a:lnTo>
                <a:lnTo>
                  <a:pt x="210" y="450"/>
                </a:lnTo>
                <a:lnTo>
                  <a:pt x="216" y="450"/>
                </a:lnTo>
                <a:lnTo>
                  <a:pt x="216" y="456"/>
                </a:lnTo>
                <a:lnTo>
                  <a:pt x="216" y="450"/>
                </a:lnTo>
                <a:lnTo>
                  <a:pt x="222" y="450"/>
                </a:lnTo>
                <a:lnTo>
                  <a:pt x="228" y="444"/>
                </a:lnTo>
                <a:lnTo>
                  <a:pt x="228" y="450"/>
                </a:lnTo>
                <a:lnTo>
                  <a:pt x="234" y="444"/>
                </a:lnTo>
                <a:lnTo>
                  <a:pt x="240" y="444"/>
                </a:lnTo>
                <a:lnTo>
                  <a:pt x="240" y="438"/>
                </a:lnTo>
                <a:lnTo>
                  <a:pt x="240" y="432"/>
                </a:lnTo>
                <a:lnTo>
                  <a:pt x="240" y="426"/>
                </a:lnTo>
                <a:lnTo>
                  <a:pt x="234" y="426"/>
                </a:lnTo>
                <a:lnTo>
                  <a:pt x="228" y="426"/>
                </a:lnTo>
                <a:lnTo>
                  <a:pt x="228" y="414"/>
                </a:lnTo>
                <a:lnTo>
                  <a:pt x="228" y="408"/>
                </a:lnTo>
                <a:lnTo>
                  <a:pt x="234" y="402"/>
                </a:lnTo>
                <a:lnTo>
                  <a:pt x="228" y="402"/>
                </a:lnTo>
                <a:lnTo>
                  <a:pt x="222" y="396"/>
                </a:lnTo>
                <a:lnTo>
                  <a:pt x="204" y="390"/>
                </a:lnTo>
                <a:lnTo>
                  <a:pt x="186" y="390"/>
                </a:lnTo>
                <a:lnTo>
                  <a:pt x="180" y="384"/>
                </a:lnTo>
                <a:lnTo>
                  <a:pt x="186" y="378"/>
                </a:lnTo>
                <a:lnTo>
                  <a:pt x="186" y="372"/>
                </a:lnTo>
                <a:lnTo>
                  <a:pt x="180" y="372"/>
                </a:lnTo>
                <a:lnTo>
                  <a:pt x="180" y="366"/>
                </a:lnTo>
                <a:lnTo>
                  <a:pt x="186" y="366"/>
                </a:lnTo>
                <a:lnTo>
                  <a:pt x="186" y="360"/>
                </a:lnTo>
                <a:lnTo>
                  <a:pt x="180" y="360"/>
                </a:lnTo>
                <a:lnTo>
                  <a:pt x="174" y="360"/>
                </a:lnTo>
                <a:lnTo>
                  <a:pt x="174" y="354"/>
                </a:lnTo>
                <a:lnTo>
                  <a:pt x="180" y="354"/>
                </a:lnTo>
                <a:lnTo>
                  <a:pt x="180" y="348"/>
                </a:lnTo>
                <a:lnTo>
                  <a:pt x="174" y="348"/>
                </a:lnTo>
                <a:lnTo>
                  <a:pt x="168" y="348"/>
                </a:lnTo>
                <a:lnTo>
                  <a:pt x="168" y="342"/>
                </a:lnTo>
                <a:lnTo>
                  <a:pt x="174" y="342"/>
                </a:lnTo>
                <a:lnTo>
                  <a:pt x="174" y="336"/>
                </a:lnTo>
                <a:lnTo>
                  <a:pt x="168" y="336"/>
                </a:lnTo>
                <a:lnTo>
                  <a:pt x="168" y="330"/>
                </a:lnTo>
                <a:lnTo>
                  <a:pt x="162" y="330"/>
                </a:lnTo>
                <a:lnTo>
                  <a:pt x="168" y="330"/>
                </a:lnTo>
                <a:lnTo>
                  <a:pt x="168" y="324"/>
                </a:lnTo>
                <a:lnTo>
                  <a:pt x="174" y="324"/>
                </a:lnTo>
                <a:lnTo>
                  <a:pt x="168" y="318"/>
                </a:lnTo>
                <a:lnTo>
                  <a:pt x="174" y="318"/>
                </a:lnTo>
                <a:lnTo>
                  <a:pt x="174" y="312"/>
                </a:lnTo>
                <a:lnTo>
                  <a:pt x="180" y="312"/>
                </a:lnTo>
                <a:lnTo>
                  <a:pt x="186" y="306"/>
                </a:lnTo>
                <a:lnTo>
                  <a:pt x="192" y="306"/>
                </a:lnTo>
                <a:lnTo>
                  <a:pt x="192" y="300"/>
                </a:lnTo>
                <a:lnTo>
                  <a:pt x="192" y="294"/>
                </a:lnTo>
                <a:lnTo>
                  <a:pt x="198" y="294"/>
                </a:lnTo>
                <a:lnTo>
                  <a:pt x="204" y="294"/>
                </a:lnTo>
                <a:lnTo>
                  <a:pt x="204" y="288"/>
                </a:lnTo>
                <a:lnTo>
                  <a:pt x="198" y="288"/>
                </a:lnTo>
                <a:lnTo>
                  <a:pt x="192" y="288"/>
                </a:lnTo>
                <a:lnTo>
                  <a:pt x="192" y="282"/>
                </a:lnTo>
                <a:lnTo>
                  <a:pt x="186" y="276"/>
                </a:lnTo>
                <a:lnTo>
                  <a:pt x="180" y="270"/>
                </a:lnTo>
                <a:lnTo>
                  <a:pt x="180" y="264"/>
                </a:lnTo>
                <a:lnTo>
                  <a:pt x="174" y="264"/>
                </a:lnTo>
                <a:lnTo>
                  <a:pt x="174" y="258"/>
                </a:lnTo>
                <a:lnTo>
                  <a:pt x="174" y="252"/>
                </a:lnTo>
                <a:lnTo>
                  <a:pt x="168" y="252"/>
                </a:lnTo>
                <a:lnTo>
                  <a:pt x="174" y="252"/>
                </a:lnTo>
                <a:lnTo>
                  <a:pt x="180" y="252"/>
                </a:lnTo>
                <a:lnTo>
                  <a:pt x="186" y="252"/>
                </a:lnTo>
                <a:lnTo>
                  <a:pt x="186" y="246"/>
                </a:lnTo>
                <a:lnTo>
                  <a:pt x="192" y="246"/>
                </a:lnTo>
                <a:lnTo>
                  <a:pt x="192" y="240"/>
                </a:lnTo>
                <a:lnTo>
                  <a:pt x="192" y="234"/>
                </a:lnTo>
                <a:lnTo>
                  <a:pt x="192" y="228"/>
                </a:lnTo>
                <a:lnTo>
                  <a:pt x="192" y="222"/>
                </a:lnTo>
                <a:lnTo>
                  <a:pt x="198" y="222"/>
                </a:lnTo>
                <a:lnTo>
                  <a:pt x="198" y="216"/>
                </a:lnTo>
                <a:lnTo>
                  <a:pt x="204" y="216"/>
                </a:lnTo>
                <a:lnTo>
                  <a:pt x="204" y="210"/>
                </a:lnTo>
                <a:lnTo>
                  <a:pt x="210" y="210"/>
                </a:lnTo>
                <a:lnTo>
                  <a:pt x="216" y="210"/>
                </a:lnTo>
                <a:lnTo>
                  <a:pt x="216" y="204"/>
                </a:lnTo>
                <a:lnTo>
                  <a:pt x="216" y="198"/>
                </a:lnTo>
                <a:lnTo>
                  <a:pt x="222" y="198"/>
                </a:lnTo>
                <a:lnTo>
                  <a:pt x="222" y="192"/>
                </a:lnTo>
                <a:lnTo>
                  <a:pt x="222" y="186"/>
                </a:lnTo>
                <a:lnTo>
                  <a:pt x="222" y="180"/>
                </a:lnTo>
                <a:lnTo>
                  <a:pt x="222" y="174"/>
                </a:lnTo>
                <a:lnTo>
                  <a:pt x="222" y="168"/>
                </a:lnTo>
                <a:lnTo>
                  <a:pt x="228" y="168"/>
                </a:lnTo>
                <a:lnTo>
                  <a:pt x="228" y="162"/>
                </a:lnTo>
                <a:lnTo>
                  <a:pt x="228" y="156"/>
                </a:lnTo>
                <a:lnTo>
                  <a:pt x="228" y="150"/>
                </a:lnTo>
                <a:lnTo>
                  <a:pt x="222" y="150"/>
                </a:lnTo>
                <a:lnTo>
                  <a:pt x="222" y="144"/>
                </a:lnTo>
                <a:lnTo>
                  <a:pt x="216" y="144"/>
                </a:lnTo>
                <a:lnTo>
                  <a:pt x="216" y="138"/>
                </a:lnTo>
                <a:lnTo>
                  <a:pt x="210" y="138"/>
                </a:lnTo>
                <a:lnTo>
                  <a:pt x="210" y="132"/>
                </a:lnTo>
                <a:lnTo>
                  <a:pt x="210" y="126"/>
                </a:lnTo>
                <a:lnTo>
                  <a:pt x="210" y="120"/>
                </a:lnTo>
                <a:lnTo>
                  <a:pt x="216" y="120"/>
                </a:lnTo>
                <a:lnTo>
                  <a:pt x="222" y="114"/>
                </a:lnTo>
                <a:lnTo>
                  <a:pt x="228" y="114"/>
                </a:lnTo>
                <a:lnTo>
                  <a:pt x="228" y="108"/>
                </a:lnTo>
                <a:lnTo>
                  <a:pt x="228" y="102"/>
                </a:lnTo>
                <a:lnTo>
                  <a:pt x="228" y="96"/>
                </a:lnTo>
                <a:lnTo>
                  <a:pt x="222" y="96"/>
                </a:lnTo>
                <a:lnTo>
                  <a:pt x="222" y="90"/>
                </a:lnTo>
                <a:lnTo>
                  <a:pt x="222" y="84"/>
                </a:lnTo>
                <a:lnTo>
                  <a:pt x="228" y="84"/>
                </a:lnTo>
                <a:lnTo>
                  <a:pt x="234" y="84"/>
                </a:lnTo>
                <a:lnTo>
                  <a:pt x="234" y="78"/>
                </a:lnTo>
                <a:lnTo>
                  <a:pt x="240" y="78"/>
                </a:lnTo>
                <a:lnTo>
                  <a:pt x="240" y="72"/>
                </a:lnTo>
                <a:lnTo>
                  <a:pt x="234" y="72"/>
                </a:lnTo>
                <a:lnTo>
                  <a:pt x="234" y="66"/>
                </a:lnTo>
                <a:lnTo>
                  <a:pt x="228" y="66"/>
                </a:lnTo>
                <a:lnTo>
                  <a:pt x="228" y="60"/>
                </a:lnTo>
                <a:lnTo>
                  <a:pt x="228" y="54"/>
                </a:lnTo>
                <a:lnTo>
                  <a:pt x="228" y="48"/>
                </a:lnTo>
                <a:lnTo>
                  <a:pt x="222" y="48"/>
                </a:lnTo>
                <a:lnTo>
                  <a:pt x="228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36"/>
                </a:lnTo>
                <a:lnTo>
                  <a:pt x="246" y="36"/>
                </a:lnTo>
                <a:lnTo>
                  <a:pt x="252" y="36"/>
                </a:lnTo>
                <a:lnTo>
                  <a:pt x="258" y="36"/>
                </a:lnTo>
                <a:lnTo>
                  <a:pt x="264" y="36"/>
                </a:lnTo>
                <a:lnTo>
                  <a:pt x="270" y="36"/>
                </a:lnTo>
                <a:lnTo>
                  <a:pt x="276" y="36"/>
                </a:lnTo>
                <a:lnTo>
                  <a:pt x="282" y="36"/>
                </a:lnTo>
                <a:lnTo>
                  <a:pt x="288" y="36"/>
                </a:lnTo>
                <a:lnTo>
                  <a:pt x="288" y="30"/>
                </a:lnTo>
                <a:lnTo>
                  <a:pt x="288" y="24"/>
                </a:lnTo>
                <a:lnTo>
                  <a:pt x="294" y="24"/>
                </a:lnTo>
                <a:lnTo>
                  <a:pt x="294" y="30"/>
                </a:lnTo>
                <a:lnTo>
                  <a:pt x="300" y="30"/>
                </a:lnTo>
                <a:lnTo>
                  <a:pt x="306" y="24"/>
                </a:lnTo>
                <a:lnTo>
                  <a:pt x="312" y="24"/>
                </a:lnTo>
                <a:lnTo>
                  <a:pt x="312" y="18"/>
                </a:lnTo>
                <a:lnTo>
                  <a:pt x="318" y="18"/>
                </a:lnTo>
                <a:lnTo>
                  <a:pt x="318" y="24"/>
                </a:lnTo>
                <a:lnTo>
                  <a:pt x="324" y="24"/>
                </a:lnTo>
                <a:lnTo>
                  <a:pt x="324" y="30"/>
                </a:lnTo>
                <a:lnTo>
                  <a:pt x="330" y="30"/>
                </a:lnTo>
                <a:lnTo>
                  <a:pt x="336" y="30"/>
                </a:lnTo>
                <a:lnTo>
                  <a:pt x="336" y="24"/>
                </a:lnTo>
                <a:lnTo>
                  <a:pt x="336" y="18"/>
                </a:lnTo>
                <a:lnTo>
                  <a:pt x="336" y="12"/>
                </a:lnTo>
                <a:lnTo>
                  <a:pt x="342" y="6"/>
                </a:lnTo>
                <a:lnTo>
                  <a:pt x="342" y="0"/>
                </a:lnTo>
                <a:lnTo>
                  <a:pt x="348" y="0"/>
                </a:lnTo>
                <a:lnTo>
                  <a:pt x="354" y="0"/>
                </a:lnTo>
                <a:lnTo>
                  <a:pt x="360" y="0"/>
                </a:lnTo>
                <a:lnTo>
                  <a:pt x="360" y="6"/>
                </a:lnTo>
                <a:lnTo>
                  <a:pt x="366" y="6"/>
                </a:lnTo>
                <a:lnTo>
                  <a:pt x="372" y="6"/>
                </a:lnTo>
                <a:lnTo>
                  <a:pt x="378" y="6"/>
                </a:lnTo>
                <a:lnTo>
                  <a:pt x="378" y="12"/>
                </a:lnTo>
                <a:lnTo>
                  <a:pt x="384" y="12"/>
                </a:lnTo>
                <a:lnTo>
                  <a:pt x="390" y="18"/>
                </a:lnTo>
                <a:lnTo>
                  <a:pt x="390" y="24"/>
                </a:lnTo>
                <a:lnTo>
                  <a:pt x="396" y="24"/>
                </a:lnTo>
                <a:lnTo>
                  <a:pt x="396" y="30"/>
                </a:lnTo>
                <a:lnTo>
                  <a:pt x="402" y="30"/>
                </a:lnTo>
                <a:lnTo>
                  <a:pt x="408" y="30"/>
                </a:lnTo>
                <a:lnTo>
                  <a:pt x="408" y="36"/>
                </a:lnTo>
                <a:lnTo>
                  <a:pt x="414" y="36"/>
                </a:lnTo>
                <a:lnTo>
                  <a:pt x="414" y="42"/>
                </a:lnTo>
                <a:lnTo>
                  <a:pt x="408" y="42"/>
                </a:lnTo>
                <a:lnTo>
                  <a:pt x="408" y="48"/>
                </a:lnTo>
                <a:lnTo>
                  <a:pt x="414" y="48"/>
                </a:lnTo>
                <a:lnTo>
                  <a:pt x="420" y="48"/>
                </a:lnTo>
                <a:lnTo>
                  <a:pt x="420" y="42"/>
                </a:lnTo>
                <a:lnTo>
                  <a:pt x="426" y="36"/>
                </a:lnTo>
                <a:lnTo>
                  <a:pt x="432" y="36"/>
                </a:lnTo>
                <a:lnTo>
                  <a:pt x="432" y="42"/>
                </a:lnTo>
                <a:lnTo>
                  <a:pt x="438" y="42"/>
                </a:lnTo>
                <a:lnTo>
                  <a:pt x="438" y="48"/>
                </a:lnTo>
                <a:lnTo>
                  <a:pt x="444" y="48"/>
                </a:lnTo>
                <a:lnTo>
                  <a:pt x="444" y="54"/>
                </a:lnTo>
                <a:lnTo>
                  <a:pt x="450" y="60"/>
                </a:lnTo>
                <a:lnTo>
                  <a:pt x="450" y="66"/>
                </a:lnTo>
                <a:lnTo>
                  <a:pt x="456" y="66"/>
                </a:lnTo>
                <a:lnTo>
                  <a:pt x="456" y="60"/>
                </a:lnTo>
                <a:lnTo>
                  <a:pt x="456" y="54"/>
                </a:lnTo>
                <a:lnTo>
                  <a:pt x="462" y="54"/>
                </a:lnTo>
                <a:lnTo>
                  <a:pt x="462" y="60"/>
                </a:lnTo>
                <a:lnTo>
                  <a:pt x="468" y="60"/>
                </a:lnTo>
                <a:lnTo>
                  <a:pt x="474" y="60"/>
                </a:lnTo>
                <a:lnTo>
                  <a:pt x="474" y="66"/>
                </a:lnTo>
                <a:lnTo>
                  <a:pt x="480" y="66"/>
                </a:lnTo>
                <a:lnTo>
                  <a:pt x="480" y="72"/>
                </a:lnTo>
                <a:lnTo>
                  <a:pt x="480" y="66"/>
                </a:lnTo>
                <a:lnTo>
                  <a:pt x="486" y="66"/>
                </a:lnTo>
                <a:lnTo>
                  <a:pt x="486" y="72"/>
                </a:lnTo>
                <a:lnTo>
                  <a:pt x="492" y="72"/>
                </a:lnTo>
                <a:lnTo>
                  <a:pt x="498" y="72"/>
                </a:lnTo>
                <a:lnTo>
                  <a:pt x="498" y="66"/>
                </a:lnTo>
                <a:lnTo>
                  <a:pt x="504" y="66"/>
                </a:lnTo>
                <a:lnTo>
                  <a:pt x="510" y="66"/>
                </a:lnTo>
                <a:lnTo>
                  <a:pt x="510" y="60"/>
                </a:lnTo>
                <a:lnTo>
                  <a:pt x="510" y="54"/>
                </a:lnTo>
                <a:lnTo>
                  <a:pt x="516" y="54"/>
                </a:lnTo>
                <a:lnTo>
                  <a:pt x="516" y="48"/>
                </a:lnTo>
                <a:lnTo>
                  <a:pt x="516" y="42"/>
                </a:lnTo>
                <a:lnTo>
                  <a:pt x="510" y="42"/>
                </a:lnTo>
                <a:lnTo>
                  <a:pt x="510" y="36"/>
                </a:lnTo>
                <a:lnTo>
                  <a:pt x="510" y="30"/>
                </a:lnTo>
                <a:lnTo>
                  <a:pt x="510" y="24"/>
                </a:lnTo>
                <a:lnTo>
                  <a:pt x="516" y="24"/>
                </a:lnTo>
                <a:lnTo>
                  <a:pt x="516" y="30"/>
                </a:lnTo>
                <a:lnTo>
                  <a:pt x="522" y="30"/>
                </a:lnTo>
                <a:lnTo>
                  <a:pt x="522" y="24"/>
                </a:lnTo>
                <a:lnTo>
                  <a:pt x="528" y="24"/>
                </a:lnTo>
                <a:lnTo>
                  <a:pt x="528" y="18"/>
                </a:lnTo>
                <a:lnTo>
                  <a:pt x="534" y="18"/>
                </a:lnTo>
                <a:lnTo>
                  <a:pt x="540" y="18"/>
                </a:lnTo>
                <a:lnTo>
                  <a:pt x="540" y="12"/>
                </a:lnTo>
                <a:lnTo>
                  <a:pt x="546" y="12"/>
                </a:lnTo>
                <a:lnTo>
                  <a:pt x="546" y="18"/>
                </a:lnTo>
                <a:lnTo>
                  <a:pt x="552" y="18"/>
                </a:lnTo>
                <a:lnTo>
                  <a:pt x="546" y="24"/>
                </a:lnTo>
                <a:lnTo>
                  <a:pt x="546" y="30"/>
                </a:lnTo>
                <a:lnTo>
                  <a:pt x="546" y="36"/>
                </a:lnTo>
                <a:lnTo>
                  <a:pt x="552" y="36"/>
                </a:lnTo>
                <a:lnTo>
                  <a:pt x="558" y="36"/>
                </a:lnTo>
                <a:lnTo>
                  <a:pt x="558" y="42"/>
                </a:lnTo>
                <a:lnTo>
                  <a:pt x="564" y="42"/>
                </a:lnTo>
                <a:lnTo>
                  <a:pt x="564" y="48"/>
                </a:lnTo>
                <a:lnTo>
                  <a:pt x="564" y="54"/>
                </a:lnTo>
                <a:lnTo>
                  <a:pt x="570" y="54"/>
                </a:lnTo>
                <a:lnTo>
                  <a:pt x="570" y="48"/>
                </a:lnTo>
                <a:lnTo>
                  <a:pt x="576" y="48"/>
                </a:lnTo>
                <a:lnTo>
                  <a:pt x="582" y="48"/>
                </a:lnTo>
                <a:lnTo>
                  <a:pt x="582" y="42"/>
                </a:lnTo>
                <a:lnTo>
                  <a:pt x="582" y="48"/>
                </a:lnTo>
                <a:lnTo>
                  <a:pt x="588" y="48"/>
                </a:lnTo>
                <a:lnTo>
                  <a:pt x="588" y="54"/>
                </a:lnTo>
                <a:lnTo>
                  <a:pt x="594" y="54"/>
                </a:lnTo>
                <a:lnTo>
                  <a:pt x="594" y="60"/>
                </a:lnTo>
                <a:lnTo>
                  <a:pt x="588" y="60"/>
                </a:lnTo>
                <a:lnTo>
                  <a:pt x="588" y="66"/>
                </a:lnTo>
                <a:lnTo>
                  <a:pt x="594" y="66"/>
                </a:lnTo>
                <a:lnTo>
                  <a:pt x="594" y="60"/>
                </a:lnTo>
                <a:lnTo>
                  <a:pt x="600" y="66"/>
                </a:lnTo>
                <a:lnTo>
                  <a:pt x="606" y="66"/>
                </a:lnTo>
                <a:lnTo>
                  <a:pt x="606" y="72"/>
                </a:lnTo>
                <a:lnTo>
                  <a:pt x="606" y="78"/>
                </a:lnTo>
                <a:lnTo>
                  <a:pt x="612" y="84"/>
                </a:lnTo>
                <a:lnTo>
                  <a:pt x="612" y="90"/>
                </a:lnTo>
                <a:lnTo>
                  <a:pt x="618" y="90"/>
                </a:lnTo>
                <a:lnTo>
                  <a:pt x="618" y="96"/>
                </a:lnTo>
                <a:lnTo>
                  <a:pt x="624" y="96"/>
                </a:lnTo>
                <a:lnTo>
                  <a:pt x="630" y="96"/>
                </a:lnTo>
                <a:lnTo>
                  <a:pt x="630" y="102"/>
                </a:lnTo>
                <a:lnTo>
                  <a:pt x="630" y="108"/>
                </a:lnTo>
                <a:lnTo>
                  <a:pt x="630" y="114"/>
                </a:lnTo>
                <a:lnTo>
                  <a:pt x="630" y="120"/>
                </a:lnTo>
                <a:lnTo>
                  <a:pt x="630" y="126"/>
                </a:lnTo>
                <a:lnTo>
                  <a:pt x="636" y="126"/>
                </a:lnTo>
                <a:lnTo>
                  <a:pt x="642" y="132"/>
                </a:lnTo>
                <a:lnTo>
                  <a:pt x="648" y="132"/>
                </a:lnTo>
                <a:lnTo>
                  <a:pt x="648" y="126"/>
                </a:lnTo>
                <a:lnTo>
                  <a:pt x="654" y="132"/>
                </a:lnTo>
                <a:lnTo>
                  <a:pt x="654" y="126"/>
                </a:lnTo>
                <a:lnTo>
                  <a:pt x="660" y="126"/>
                </a:lnTo>
                <a:lnTo>
                  <a:pt x="660" y="120"/>
                </a:lnTo>
                <a:lnTo>
                  <a:pt x="660" y="114"/>
                </a:lnTo>
                <a:lnTo>
                  <a:pt x="666" y="114"/>
                </a:lnTo>
                <a:lnTo>
                  <a:pt x="672" y="114"/>
                </a:lnTo>
                <a:lnTo>
                  <a:pt x="672" y="108"/>
                </a:lnTo>
                <a:lnTo>
                  <a:pt x="678" y="108"/>
                </a:lnTo>
                <a:lnTo>
                  <a:pt x="678" y="102"/>
                </a:lnTo>
                <a:lnTo>
                  <a:pt x="684" y="102"/>
                </a:lnTo>
                <a:lnTo>
                  <a:pt x="684" y="108"/>
                </a:lnTo>
                <a:lnTo>
                  <a:pt x="690" y="102"/>
                </a:lnTo>
                <a:lnTo>
                  <a:pt x="690" y="108"/>
                </a:lnTo>
                <a:lnTo>
                  <a:pt x="696" y="108"/>
                </a:lnTo>
                <a:lnTo>
                  <a:pt x="696" y="114"/>
                </a:lnTo>
                <a:lnTo>
                  <a:pt x="702" y="120"/>
                </a:lnTo>
                <a:lnTo>
                  <a:pt x="702" y="126"/>
                </a:lnTo>
                <a:lnTo>
                  <a:pt x="708" y="126"/>
                </a:lnTo>
                <a:lnTo>
                  <a:pt x="708" y="120"/>
                </a:lnTo>
                <a:lnTo>
                  <a:pt x="714" y="120"/>
                </a:lnTo>
                <a:lnTo>
                  <a:pt x="720" y="120"/>
                </a:lnTo>
                <a:lnTo>
                  <a:pt x="720" y="126"/>
                </a:lnTo>
                <a:lnTo>
                  <a:pt x="726" y="126"/>
                </a:lnTo>
                <a:lnTo>
                  <a:pt x="732" y="126"/>
                </a:lnTo>
                <a:lnTo>
                  <a:pt x="732" y="132"/>
                </a:lnTo>
                <a:lnTo>
                  <a:pt x="732" y="138"/>
                </a:lnTo>
                <a:lnTo>
                  <a:pt x="738" y="144"/>
                </a:lnTo>
                <a:lnTo>
                  <a:pt x="744" y="144"/>
                </a:lnTo>
                <a:lnTo>
                  <a:pt x="750" y="144"/>
                </a:lnTo>
                <a:lnTo>
                  <a:pt x="756" y="144"/>
                </a:lnTo>
                <a:lnTo>
                  <a:pt x="762" y="144"/>
                </a:lnTo>
                <a:lnTo>
                  <a:pt x="762" y="138"/>
                </a:lnTo>
                <a:lnTo>
                  <a:pt x="768" y="138"/>
                </a:lnTo>
                <a:lnTo>
                  <a:pt x="768" y="132"/>
                </a:lnTo>
                <a:lnTo>
                  <a:pt x="774" y="132"/>
                </a:lnTo>
                <a:lnTo>
                  <a:pt x="768" y="126"/>
                </a:lnTo>
                <a:lnTo>
                  <a:pt x="774" y="126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4" name="Freeform 20">
            <a:extLst>
              <a:ext uri="{FF2B5EF4-FFF2-40B4-BE49-F238E27FC236}">
                <a16:creationId xmlns:a16="http://schemas.microsoft.com/office/drawing/2014/main" id="{8EEB2CC7-C361-41DB-A6C0-295DDF3C4F90}"/>
              </a:ext>
            </a:extLst>
          </p:cNvPr>
          <p:cNvSpPr>
            <a:spLocks/>
          </p:cNvSpPr>
          <p:nvPr/>
        </p:nvSpPr>
        <p:spPr bwMode="gray">
          <a:xfrm rot="533595">
            <a:off x="4938833" y="4230479"/>
            <a:ext cx="756552" cy="807618"/>
          </a:xfrm>
          <a:custGeom>
            <a:avLst/>
            <a:gdLst>
              <a:gd name="T0" fmla="*/ 402 w 834"/>
              <a:gd name="T1" fmla="*/ 36 h 954"/>
              <a:gd name="T2" fmla="*/ 420 w 834"/>
              <a:gd name="T3" fmla="*/ 72 h 954"/>
              <a:gd name="T4" fmla="*/ 504 w 834"/>
              <a:gd name="T5" fmla="*/ 42 h 954"/>
              <a:gd name="T6" fmla="*/ 534 w 834"/>
              <a:gd name="T7" fmla="*/ 18 h 954"/>
              <a:gd name="T8" fmla="*/ 594 w 834"/>
              <a:gd name="T9" fmla="*/ 12 h 954"/>
              <a:gd name="T10" fmla="*/ 666 w 834"/>
              <a:gd name="T11" fmla="*/ 18 h 954"/>
              <a:gd name="T12" fmla="*/ 720 w 834"/>
              <a:gd name="T13" fmla="*/ 48 h 954"/>
              <a:gd name="T14" fmla="*/ 756 w 834"/>
              <a:gd name="T15" fmla="*/ 18 h 954"/>
              <a:gd name="T16" fmla="*/ 798 w 834"/>
              <a:gd name="T17" fmla="*/ 54 h 954"/>
              <a:gd name="T18" fmla="*/ 834 w 834"/>
              <a:gd name="T19" fmla="*/ 96 h 954"/>
              <a:gd name="T20" fmla="*/ 804 w 834"/>
              <a:gd name="T21" fmla="*/ 150 h 954"/>
              <a:gd name="T22" fmla="*/ 816 w 834"/>
              <a:gd name="T23" fmla="*/ 216 h 954"/>
              <a:gd name="T24" fmla="*/ 780 w 834"/>
              <a:gd name="T25" fmla="*/ 270 h 954"/>
              <a:gd name="T26" fmla="*/ 792 w 834"/>
              <a:gd name="T27" fmla="*/ 312 h 954"/>
              <a:gd name="T28" fmla="*/ 768 w 834"/>
              <a:gd name="T29" fmla="*/ 354 h 954"/>
              <a:gd name="T30" fmla="*/ 780 w 834"/>
              <a:gd name="T31" fmla="*/ 396 h 954"/>
              <a:gd name="T32" fmla="*/ 828 w 834"/>
              <a:gd name="T33" fmla="*/ 462 h 954"/>
              <a:gd name="T34" fmla="*/ 756 w 834"/>
              <a:gd name="T35" fmla="*/ 468 h 954"/>
              <a:gd name="T36" fmla="*/ 780 w 834"/>
              <a:gd name="T37" fmla="*/ 528 h 954"/>
              <a:gd name="T38" fmla="*/ 732 w 834"/>
              <a:gd name="T39" fmla="*/ 540 h 954"/>
              <a:gd name="T40" fmla="*/ 744 w 834"/>
              <a:gd name="T41" fmla="*/ 594 h 954"/>
              <a:gd name="T42" fmla="*/ 750 w 834"/>
              <a:gd name="T43" fmla="*/ 642 h 954"/>
              <a:gd name="T44" fmla="*/ 768 w 834"/>
              <a:gd name="T45" fmla="*/ 690 h 954"/>
              <a:gd name="T46" fmla="*/ 720 w 834"/>
              <a:gd name="T47" fmla="*/ 720 h 954"/>
              <a:gd name="T48" fmla="*/ 690 w 834"/>
              <a:gd name="T49" fmla="*/ 768 h 954"/>
              <a:gd name="T50" fmla="*/ 624 w 834"/>
              <a:gd name="T51" fmla="*/ 780 h 954"/>
              <a:gd name="T52" fmla="*/ 600 w 834"/>
              <a:gd name="T53" fmla="*/ 828 h 954"/>
              <a:gd name="T54" fmla="*/ 588 w 834"/>
              <a:gd name="T55" fmla="*/ 900 h 954"/>
              <a:gd name="T56" fmla="*/ 588 w 834"/>
              <a:gd name="T57" fmla="*/ 918 h 954"/>
              <a:gd name="T58" fmla="*/ 528 w 834"/>
              <a:gd name="T59" fmla="*/ 948 h 954"/>
              <a:gd name="T60" fmla="*/ 480 w 834"/>
              <a:gd name="T61" fmla="*/ 930 h 954"/>
              <a:gd name="T62" fmla="*/ 450 w 834"/>
              <a:gd name="T63" fmla="*/ 882 h 954"/>
              <a:gd name="T64" fmla="*/ 390 w 834"/>
              <a:gd name="T65" fmla="*/ 852 h 954"/>
              <a:gd name="T66" fmla="*/ 390 w 834"/>
              <a:gd name="T67" fmla="*/ 804 h 954"/>
              <a:gd name="T68" fmla="*/ 444 w 834"/>
              <a:gd name="T69" fmla="*/ 774 h 954"/>
              <a:gd name="T70" fmla="*/ 426 w 834"/>
              <a:gd name="T71" fmla="*/ 714 h 954"/>
              <a:gd name="T72" fmla="*/ 414 w 834"/>
              <a:gd name="T73" fmla="*/ 690 h 954"/>
              <a:gd name="T74" fmla="*/ 378 w 834"/>
              <a:gd name="T75" fmla="*/ 732 h 954"/>
              <a:gd name="T76" fmla="*/ 306 w 834"/>
              <a:gd name="T77" fmla="*/ 738 h 954"/>
              <a:gd name="T78" fmla="*/ 270 w 834"/>
              <a:gd name="T79" fmla="*/ 744 h 954"/>
              <a:gd name="T80" fmla="*/ 228 w 834"/>
              <a:gd name="T81" fmla="*/ 738 h 954"/>
              <a:gd name="T82" fmla="*/ 204 w 834"/>
              <a:gd name="T83" fmla="*/ 714 h 954"/>
              <a:gd name="T84" fmla="*/ 150 w 834"/>
              <a:gd name="T85" fmla="*/ 672 h 954"/>
              <a:gd name="T86" fmla="*/ 84 w 834"/>
              <a:gd name="T87" fmla="*/ 660 h 954"/>
              <a:gd name="T88" fmla="*/ 24 w 834"/>
              <a:gd name="T89" fmla="*/ 648 h 954"/>
              <a:gd name="T90" fmla="*/ 12 w 834"/>
              <a:gd name="T91" fmla="*/ 606 h 954"/>
              <a:gd name="T92" fmla="*/ 66 w 834"/>
              <a:gd name="T93" fmla="*/ 612 h 954"/>
              <a:gd name="T94" fmla="*/ 66 w 834"/>
              <a:gd name="T95" fmla="*/ 546 h 954"/>
              <a:gd name="T96" fmla="*/ 102 w 834"/>
              <a:gd name="T97" fmla="*/ 492 h 954"/>
              <a:gd name="T98" fmla="*/ 144 w 834"/>
              <a:gd name="T99" fmla="*/ 468 h 954"/>
              <a:gd name="T100" fmla="*/ 144 w 834"/>
              <a:gd name="T101" fmla="*/ 408 h 954"/>
              <a:gd name="T102" fmla="*/ 150 w 834"/>
              <a:gd name="T103" fmla="*/ 354 h 954"/>
              <a:gd name="T104" fmla="*/ 174 w 834"/>
              <a:gd name="T105" fmla="*/ 324 h 954"/>
              <a:gd name="T106" fmla="*/ 204 w 834"/>
              <a:gd name="T107" fmla="*/ 276 h 954"/>
              <a:gd name="T108" fmla="*/ 204 w 834"/>
              <a:gd name="T109" fmla="*/ 234 h 954"/>
              <a:gd name="T110" fmla="*/ 234 w 834"/>
              <a:gd name="T111" fmla="*/ 192 h 954"/>
              <a:gd name="T112" fmla="*/ 264 w 834"/>
              <a:gd name="T113" fmla="*/ 168 h 954"/>
              <a:gd name="T114" fmla="*/ 270 w 834"/>
              <a:gd name="T115" fmla="*/ 114 h 954"/>
              <a:gd name="T116" fmla="*/ 270 w 834"/>
              <a:gd name="T117" fmla="*/ 60 h 954"/>
              <a:gd name="T118" fmla="*/ 288 w 834"/>
              <a:gd name="T119" fmla="*/ 24 h 954"/>
              <a:gd name="T120" fmla="*/ 354 w 834"/>
              <a:gd name="T121" fmla="*/ 12 h 95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834" h="954">
                <a:moveTo>
                  <a:pt x="372" y="6"/>
                </a:moveTo>
                <a:lnTo>
                  <a:pt x="378" y="6"/>
                </a:lnTo>
                <a:lnTo>
                  <a:pt x="384" y="6"/>
                </a:lnTo>
                <a:lnTo>
                  <a:pt x="384" y="12"/>
                </a:lnTo>
                <a:lnTo>
                  <a:pt x="390" y="12"/>
                </a:lnTo>
                <a:lnTo>
                  <a:pt x="390" y="6"/>
                </a:lnTo>
                <a:lnTo>
                  <a:pt x="396" y="6"/>
                </a:lnTo>
                <a:lnTo>
                  <a:pt x="402" y="6"/>
                </a:lnTo>
                <a:lnTo>
                  <a:pt x="402" y="12"/>
                </a:lnTo>
                <a:lnTo>
                  <a:pt x="402" y="18"/>
                </a:lnTo>
                <a:lnTo>
                  <a:pt x="408" y="18"/>
                </a:lnTo>
                <a:lnTo>
                  <a:pt x="408" y="24"/>
                </a:lnTo>
                <a:lnTo>
                  <a:pt x="402" y="24"/>
                </a:lnTo>
                <a:lnTo>
                  <a:pt x="402" y="30"/>
                </a:lnTo>
                <a:lnTo>
                  <a:pt x="402" y="36"/>
                </a:lnTo>
                <a:lnTo>
                  <a:pt x="402" y="42"/>
                </a:lnTo>
                <a:lnTo>
                  <a:pt x="402" y="48"/>
                </a:lnTo>
                <a:lnTo>
                  <a:pt x="396" y="48"/>
                </a:lnTo>
                <a:lnTo>
                  <a:pt x="390" y="48"/>
                </a:lnTo>
                <a:lnTo>
                  <a:pt x="390" y="54"/>
                </a:lnTo>
                <a:lnTo>
                  <a:pt x="396" y="54"/>
                </a:lnTo>
                <a:lnTo>
                  <a:pt x="396" y="60"/>
                </a:lnTo>
                <a:lnTo>
                  <a:pt x="396" y="66"/>
                </a:lnTo>
                <a:lnTo>
                  <a:pt x="402" y="66"/>
                </a:lnTo>
                <a:lnTo>
                  <a:pt x="408" y="66"/>
                </a:lnTo>
                <a:lnTo>
                  <a:pt x="414" y="66"/>
                </a:lnTo>
                <a:lnTo>
                  <a:pt x="420" y="66"/>
                </a:lnTo>
                <a:lnTo>
                  <a:pt x="420" y="72"/>
                </a:lnTo>
                <a:lnTo>
                  <a:pt x="420" y="66"/>
                </a:lnTo>
                <a:lnTo>
                  <a:pt x="420" y="72"/>
                </a:lnTo>
                <a:lnTo>
                  <a:pt x="426" y="72"/>
                </a:lnTo>
                <a:lnTo>
                  <a:pt x="432" y="72"/>
                </a:lnTo>
                <a:lnTo>
                  <a:pt x="438" y="72"/>
                </a:lnTo>
                <a:lnTo>
                  <a:pt x="444" y="72"/>
                </a:lnTo>
                <a:lnTo>
                  <a:pt x="444" y="66"/>
                </a:lnTo>
                <a:lnTo>
                  <a:pt x="450" y="66"/>
                </a:lnTo>
                <a:lnTo>
                  <a:pt x="456" y="66"/>
                </a:lnTo>
                <a:lnTo>
                  <a:pt x="462" y="66"/>
                </a:lnTo>
                <a:lnTo>
                  <a:pt x="468" y="60"/>
                </a:lnTo>
                <a:lnTo>
                  <a:pt x="474" y="60"/>
                </a:lnTo>
                <a:lnTo>
                  <a:pt x="480" y="54"/>
                </a:lnTo>
                <a:lnTo>
                  <a:pt x="486" y="54"/>
                </a:lnTo>
                <a:lnTo>
                  <a:pt x="492" y="48"/>
                </a:lnTo>
                <a:lnTo>
                  <a:pt x="498" y="48"/>
                </a:lnTo>
                <a:lnTo>
                  <a:pt x="504" y="42"/>
                </a:lnTo>
                <a:lnTo>
                  <a:pt x="510" y="42"/>
                </a:lnTo>
                <a:lnTo>
                  <a:pt x="510" y="36"/>
                </a:lnTo>
                <a:lnTo>
                  <a:pt x="516" y="36"/>
                </a:lnTo>
                <a:lnTo>
                  <a:pt x="516" y="30"/>
                </a:lnTo>
                <a:lnTo>
                  <a:pt x="522" y="30"/>
                </a:lnTo>
                <a:lnTo>
                  <a:pt x="516" y="30"/>
                </a:lnTo>
                <a:lnTo>
                  <a:pt x="516" y="24"/>
                </a:lnTo>
                <a:lnTo>
                  <a:pt x="522" y="24"/>
                </a:lnTo>
                <a:lnTo>
                  <a:pt x="516" y="24"/>
                </a:lnTo>
                <a:lnTo>
                  <a:pt x="516" y="18"/>
                </a:lnTo>
                <a:lnTo>
                  <a:pt x="516" y="12"/>
                </a:lnTo>
                <a:lnTo>
                  <a:pt x="522" y="12"/>
                </a:lnTo>
                <a:lnTo>
                  <a:pt x="522" y="18"/>
                </a:lnTo>
                <a:lnTo>
                  <a:pt x="528" y="18"/>
                </a:lnTo>
                <a:lnTo>
                  <a:pt x="534" y="18"/>
                </a:lnTo>
                <a:lnTo>
                  <a:pt x="534" y="24"/>
                </a:lnTo>
                <a:lnTo>
                  <a:pt x="534" y="18"/>
                </a:lnTo>
                <a:lnTo>
                  <a:pt x="540" y="18"/>
                </a:lnTo>
                <a:lnTo>
                  <a:pt x="540" y="12"/>
                </a:lnTo>
                <a:lnTo>
                  <a:pt x="546" y="6"/>
                </a:lnTo>
                <a:lnTo>
                  <a:pt x="552" y="6"/>
                </a:lnTo>
                <a:lnTo>
                  <a:pt x="558" y="6"/>
                </a:lnTo>
                <a:lnTo>
                  <a:pt x="558" y="0"/>
                </a:lnTo>
                <a:lnTo>
                  <a:pt x="558" y="6"/>
                </a:lnTo>
                <a:lnTo>
                  <a:pt x="564" y="12"/>
                </a:lnTo>
                <a:lnTo>
                  <a:pt x="570" y="12"/>
                </a:lnTo>
                <a:lnTo>
                  <a:pt x="576" y="12"/>
                </a:lnTo>
                <a:lnTo>
                  <a:pt x="582" y="12"/>
                </a:lnTo>
                <a:lnTo>
                  <a:pt x="588" y="12"/>
                </a:lnTo>
                <a:lnTo>
                  <a:pt x="594" y="12"/>
                </a:lnTo>
                <a:lnTo>
                  <a:pt x="594" y="6"/>
                </a:lnTo>
                <a:lnTo>
                  <a:pt x="600" y="6"/>
                </a:lnTo>
                <a:lnTo>
                  <a:pt x="606" y="6"/>
                </a:lnTo>
                <a:lnTo>
                  <a:pt x="612" y="12"/>
                </a:lnTo>
                <a:lnTo>
                  <a:pt x="618" y="12"/>
                </a:lnTo>
                <a:lnTo>
                  <a:pt x="618" y="18"/>
                </a:lnTo>
                <a:lnTo>
                  <a:pt x="624" y="18"/>
                </a:lnTo>
                <a:lnTo>
                  <a:pt x="630" y="18"/>
                </a:lnTo>
                <a:lnTo>
                  <a:pt x="630" y="24"/>
                </a:lnTo>
                <a:lnTo>
                  <a:pt x="636" y="24"/>
                </a:lnTo>
                <a:lnTo>
                  <a:pt x="642" y="18"/>
                </a:lnTo>
                <a:lnTo>
                  <a:pt x="648" y="18"/>
                </a:lnTo>
                <a:lnTo>
                  <a:pt x="654" y="18"/>
                </a:lnTo>
                <a:lnTo>
                  <a:pt x="660" y="18"/>
                </a:lnTo>
                <a:lnTo>
                  <a:pt x="666" y="18"/>
                </a:lnTo>
                <a:lnTo>
                  <a:pt x="672" y="18"/>
                </a:lnTo>
                <a:lnTo>
                  <a:pt x="672" y="24"/>
                </a:lnTo>
                <a:lnTo>
                  <a:pt x="678" y="24"/>
                </a:lnTo>
                <a:lnTo>
                  <a:pt x="684" y="24"/>
                </a:lnTo>
                <a:lnTo>
                  <a:pt x="690" y="24"/>
                </a:lnTo>
                <a:lnTo>
                  <a:pt x="690" y="30"/>
                </a:lnTo>
                <a:lnTo>
                  <a:pt x="696" y="30"/>
                </a:lnTo>
                <a:lnTo>
                  <a:pt x="702" y="30"/>
                </a:lnTo>
                <a:lnTo>
                  <a:pt x="708" y="30"/>
                </a:lnTo>
                <a:lnTo>
                  <a:pt x="708" y="24"/>
                </a:lnTo>
                <a:lnTo>
                  <a:pt x="714" y="30"/>
                </a:lnTo>
                <a:lnTo>
                  <a:pt x="714" y="36"/>
                </a:lnTo>
                <a:lnTo>
                  <a:pt x="720" y="36"/>
                </a:lnTo>
                <a:lnTo>
                  <a:pt x="720" y="42"/>
                </a:lnTo>
                <a:lnTo>
                  <a:pt x="720" y="48"/>
                </a:lnTo>
                <a:lnTo>
                  <a:pt x="726" y="48"/>
                </a:lnTo>
                <a:lnTo>
                  <a:pt x="732" y="42"/>
                </a:lnTo>
                <a:lnTo>
                  <a:pt x="732" y="36"/>
                </a:lnTo>
                <a:lnTo>
                  <a:pt x="738" y="36"/>
                </a:lnTo>
                <a:lnTo>
                  <a:pt x="738" y="30"/>
                </a:lnTo>
                <a:lnTo>
                  <a:pt x="738" y="24"/>
                </a:lnTo>
                <a:lnTo>
                  <a:pt x="732" y="18"/>
                </a:lnTo>
                <a:lnTo>
                  <a:pt x="732" y="12"/>
                </a:lnTo>
                <a:lnTo>
                  <a:pt x="732" y="6"/>
                </a:lnTo>
                <a:lnTo>
                  <a:pt x="738" y="6"/>
                </a:lnTo>
                <a:lnTo>
                  <a:pt x="744" y="6"/>
                </a:lnTo>
                <a:lnTo>
                  <a:pt x="750" y="6"/>
                </a:lnTo>
                <a:lnTo>
                  <a:pt x="756" y="6"/>
                </a:lnTo>
                <a:lnTo>
                  <a:pt x="756" y="12"/>
                </a:lnTo>
                <a:lnTo>
                  <a:pt x="756" y="18"/>
                </a:lnTo>
                <a:lnTo>
                  <a:pt x="762" y="18"/>
                </a:lnTo>
                <a:lnTo>
                  <a:pt x="762" y="24"/>
                </a:lnTo>
                <a:lnTo>
                  <a:pt x="756" y="24"/>
                </a:lnTo>
                <a:lnTo>
                  <a:pt x="756" y="30"/>
                </a:lnTo>
                <a:lnTo>
                  <a:pt x="762" y="30"/>
                </a:lnTo>
                <a:lnTo>
                  <a:pt x="762" y="36"/>
                </a:lnTo>
                <a:lnTo>
                  <a:pt x="768" y="36"/>
                </a:lnTo>
                <a:lnTo>
                  <a:pt x="768" y="42"/>
                </a:lnTo>
                <a:lnTo>
                  <a:pt x="768" y="48"/>
                </a:lnTo>
                <a:lnTo>
                  <a:pt x="774" y="48"/>
                </a:lnTo>
                <a:lnTo>
                  <a:pt x="780" y="48"/>
                </a:lnTo>
                <a:lnTo>
                  <a:pt x="786" y="48"/>
                </a:lnTo>
                <a:lnTo>
                  <a:pt x="792" y="48"/>
                </a:lnTo>
                <a:lnTo>
                  <a:pt x="792" y="54"/>
                </a:lnTo>
                <a:lnTo>
                  <a:pt x="798" y="54"/>
                </a:lnTo>
                <a:lnTo>
                  <a:pt x="798" y="60"/>
                </a:lnTo>
                <a:lnTo>
                  <a:pt x="804" y="60"/>
                </a:lnTo>
                <a:lnTo>
                  <a:pt x="810" y="60"/>
                </a:lnTo>
                <a:lnTo>
                  <a:pt x="810" y="66"/>
                </a:lnTo>
                <a:lnTo>
                  <a:pt x="816" y="66"/>
                </a:lnTo>
                <a:lnTo>
                  <a:pt x="816" y="60"/>
                </a:lnTo>
                <a:lnTo>
                  <a:pt x="816" y="66"/>
                </a:lnTo>
                <a:lnTo>
                  <a:pt x="822" y="66"/>
                </a:lnTo>
                <a:lnTo>
                  <a:pt x="822" y="72"/>
                </a:lnTo>
                <a:lnTo>
                  <a:pt x="822" y="78"/>
                </a:lnTo>
                <a:lnTo>
                  <a:pt x="822" y="84"/>
                </a:lnTo>
                <a:lnTo>
                  <a:pt x="828" y="84"/>
                </a:lnTo>
                <a:lnTo>
                  <a:pt x="828" y="90"/>
                </a:lnTo>
                <a:lnTo>
                  <a:pt x="834" y="90"/>
                </a:lnTo>
                <a:lnTo>
                  <a:pt x="834" y="96"/>
                </a:lnTo>
                <a:lnTo>
                  <a:pt x="828" y="96"/>
                </a:lnTo>
                <a:lnTo>
                  <a:pt x="828" y="102"/>
                </a:lnTo>
                <a:lnTo>
                  <a:pt x="822" y="102"/>
                </a:lnTo>
                <a:lnTo>
                  <a:pt x="816" y="102"/>
                </a:lnTo>
                <a:lnTo>
                  <a:pt x="816" y="108"/>
                </a:lnTo>
                <a:lnTo>
                  <a:pt x="816" y="114"/>
                </a:lnTo>
                <a:lnTo>
                  <a:pt x="822" y="114"/>
                </a:lnTo>
                <a:lnTo>
                  <a:pt x="822" y="120"/>
                </a:lnTo>
                <a:lnTo>
                  <a:pt x="822" y="126"/>
                </a:lnTo>
                <a:lnTo>
                  <a:pt x="822" y="132"/>
                </a:lnTo>
                <a:lnTo>
                  <a:pt x="816" y="132"/>
                </a:lnTo>
                <a:lnTo>
                  <a:pt x="810" y="138"/>
                </a:lnTo>
                <a:lnTo>
                  <a:pt x="804" y="138"/>
                </a:lnTo>
                <a:lnTo>
                  <a:pt x="804" y="144"/>
                </a:lnTo>
                <a:lnTo>
                  <a:pt x="804" y="150"/>
                </a:lnTo>
                <a:lnTo>
                  <a:pt x="804" y="156"/>
                </a:lnTo>
                <a:lnTo>
                  <a:pt x="810" y="156"/>
                </a:lnTo>
                <a:lnTo>
                  <a:pt x="810" y="162"/>
                </a:lnTo>
                <a:lnTo>
                  <a:pt x="816" y="162"/>
                </a:lnTo>
                <a:lnTo>
                  <a:pt x="816" y="168"/>
                </a:lnTo>
                <a:lnTo>
                  <a:pt x="822" y="168"/>
                </a:lnTo>
                <a:lnTo>
                  <a:pt x="822" y="174"/>
                </a:lnTo>
                <a:lnTo>
                  <a:pt x="822" y="180"/>
                </a:lnTo>
                <a:lnTo>
                  <a:pt x="822" y="186"/>
                </a:lnTo>
                <a:lnTo>
                  <a:pt x="816" y="186"/>
                </a:lnTo>
                <a:lnTo>
                  <a:pt x="816" y="192"/>
                </a:lnTo>
                <a:lnTo>
                  <a:pt x="816" y="198"/>
                </a:lnTo>
                <a:lnTo>
                  <a:pt x="816" y="204"/>
                </a:lnTo>
                <a:lnTo>
                  <a:pt x="816" y="210"/>
                </a:lnTo>
                <a:lnTo>
                  <a:pt x="816" y="216"/>
                </a:lnTo>
                <a:lnTo>
                  <a:pt x="810" y="216"/>
                </a:lnTo>
                <a:lnTo>
                  <a:pt x="810" y="222"/>
                </a:lnTo>
                <a:lnTo>
                  <a:pt x="810" y="228"/>
                </a:lnTo>
                <a:lnTo>
                  <a:pt x="804" y="228"/>
                </a:lnTo>
                <a:lnTo>
                  <a:pt x="798" y="228"/>
                </a:lnTo>
                <a:lnTo>
                  <a:pt x="798" y="234"/>
                </a:lnTo>
                <a:lnTo>
                  <a:pt x="792" y="234"/>
                </a:lnTo>
                <a:lnTo>
                  <a:pt x="792" y="240"/>
                </a:lnTo>
                <a:lnTo>
                  <a:pt x="786" y="240"/>
                </a:lnTo>
                <a:lnTo>
                  <a:pt x="786" y="246"/>
                </a:lnTo>
                <a:lnTo>
                  <a:pt x="786" y="252"/>
                </a:lnTo>
                <a:lnTo>
                  <a:pt x="786" y="258"/>
                </a:lnTo>
                <a:lnTo>
                  <a:pt x="786" y="264"/>
                </a:lnTo>
                <a:lnTo>
                  <a:pt x="780" y="264"/>
                </a:lnTo>
                <a:lnTo>
                  <a:pt x="780" y="270"/>
                </a:lnTo>
                <a:lnTo>
                  <a:pt x="774" y="270"/>
                </a:lnTo>
                <a:lnTo>
                  <a:pt x="768" y="270"/>
                </a:lnTo>
                <a:lnTo>
                  <a:pt x="762" y="270"/>
                </a:lnTo>
                <a:lnTo>
                  <a:pt x="768" y="270"/>
                </a:lnTo>
                <a:lnTo>
                  <a:pt x="768" y="276"/>
                </a:lnTo>
                <a:lnTo>
                  <a:pt x="768" y="282"/>
                </a:lnTo>
                <a:lnTo>
                  <a:pt x="774" y="282"/>
                </a:lnTo>
                <a:lnTo>
                  <a:pt x="774" y="288"/>
                </a:lnTo>
                <a:lnTo>
                  <a:pt x="780" y="294"/>
                </a:lnTo>
                <a:lnTo>
                  <a:pt x="786" y="300"/>
                </a:lnTo>
                <a:lnTo>
                  <a:pt x="786" y="306"/>
                </a:lnTo>
                <a:lnTo>
                  <a:pt x="792" y="306"/>
                </a:lnTo>
                <a:lnTo>
                  <a:pt x="798" y="306"/>
                </a:lnTo>
                <a:lnTo>
                  <a:pt x="798" y="312"/>
                </a:lnTo>
                <a:lnTo>
                  <a:pt x="792" y="312"/>
                </a:lnTo>
                <a:lnTo>
                  <a:pt x="786" y="312"/>
                </a:lnTo>
                <a:lnTo>
                  <a:pt x="786" y="318"/>
                </a:lnTo>
                <a:lnTo>
                  <a:pt x="786" y="324"/>
                </a:lnTo>
                <a:lnTo>
                  <a:pt x="780" y="324"/>
                </a:lnTo>
                <a:lnTo>
                  <a:pt x="774" y="330"/>
                </a:lnTo>
                <a:lnTo>
                  <a:pt x="768" y="330"/>
                </a:lnTo>
                <a:lnTo>
                  <a:pt x="768" y="336"/>
                </a:lnTo>
                <a:lnTo>
                  <a:pt x="762" y="336"/>
                </a:lnTo>
                <a:lnTo>
                  <a:pt x="768" y="342"/>
                </a:lnTo>
                <a:lnTo>
                  <a:pt x="762" y="342"/>
                </a:lnTo>
                <a:lnTo>
                  <a:pt x="762" y="348"/>
                </a:lnTo>
                <a:lnTo>
                  <a:pt x="756" y="348"/>
                </a:lnTo>
                <a:lnTo>
                  <a:pt x="762" y="348"/>
                </a:lnTo>
                <a:lnTo>
                  <a:pt x="762" y="354"/>
                </a:lnTo>
                <a:lnTo>
                  <a:pt x="768" y="354"/>
                </a:lnTo>
                <a:lnTo>
                  <a:pt x="768" y="360"/>
                </a:lnTo>
                <a:lnTo>
                  <a:pt x="762" y="360"/>
                </a:lnTo>
                <a:lnTo>
                  <a:pt x="762" y="366"/>
                </a:lnTo>
                <a:lnTo>
                  <a:pt x="768" y="366"/>
                </a:lnTo>
                <a:lnTo>
                  <a:pt x="774" y="366"/>
                </a:lnTo>
                <a:lnTo>
                  <a:pt x="774" y="372"/>
                </a:lnTo>
                <a:lnTo>
                  <a:pt x="768" y="372"/>
                </a:lnTo>
                <a:lnTo>
                  <a:pt x="768" y="378"/>
                </a:lnTo>
                <a:lnTo>
                  <a:pt x="774" y="378"/>
                </a:lnTo>
                <a:lnTo>
                  <a:pt x="780" y="378"/>
                </a:lnTo>
                <a:lnTo>
                  <a:pt x="780" y="384"/>
                </a:lnTo>
                <a:lnTo>
                  <a:pt x="774" y="384"/>
                </a:lnTo>
                <a:lnTo>
                  <a:pt x="774" y="390"/>
                </a:lnTo>
                <a:lnTo>
                  <a:pt x="780" y="390"/>
                </a:lnTo>
                <a:lnTo>
                  <a:pt x="780" y="396"/>
                </a:lnTo>
                <a:lnTo>
                  <a:pt x="774" y="402"/>
                </a:lnTo>
                <a:lnTo>
                  <a:pt x="780" y="408"/>
                </a:lnTo>
                <a:lnTo>
                  <a:pt x="798" y="408"/>
                </a:lnTo>
                <a:lnTo>
                  <a:pt x="816" y="414"/>
                </a:lnTo>
                <a:lnTo>
                  <a:pt x="822" y="420"/>
                </a:lnTo>
                <a:lnTo>
                  <a:pt x="828" y="420"/>
                </a:lnTo>
                <a:lnTo>
                  <a:pt x="822" y="426"/>
                </a:lnTo>
                <a:lnTo>
                  <a:pt x="822" y="432"/>
                </a:lnTo>
                <a:lnTo>
                  <a:pt x="822" y="444"/>
                </a:lnTo>
                <a:lnTo>
                  <a:pt x="828" y="444"/>
                </a:lnTo>
                <a:lnTo>
                  <a:pt x="834" y="444"/>
                </a:lnTo>
                <a:lnTo>
                  <a:pt x="834" y="450"/>
                </a:lnTo>
                <a:lnTo>
                  <a:pt x="834" y="456"/>
                </a:lnTo>
                <a:lnTo>
                  <a:pt x="834" y="462"/>
                </a:lnTo>
                <a:lnTo>
                  <a:pt x="828" y="462"/>
                </a:lnTo>
                <a:lnTo>
                  <a:pt x="822" y="468"/>
                </a:lnTo>
                <a:lnTo>
                  <a:pt x="822" y="462"/>
                </a:lnTo>
                <a:lnTo>
                  <a:pt x="816" y="468"/>
                </a:lnTo>
                <a:lnTo>
                  <a:pt x="810" y="468"/>
                </a:lnTo>
                <a:lnTo>
                  <a:pt x="810" y="474"/>
                </a:lnTo>
                <a:lnTo>
                  <a:pt x="810" y="468"/>
                </a:lnTo>
                <a:lnTo>
                  <a:pt x="804" y="468"/>
                </a:lnTo>
                <a:lnTo>
                  <a:pt x="798" y="468"/>
                </a:lnTo>
                <a:lnTo>
                  <a:pt x="792" y="468"/>
                </a:lnTo>
                <a:lnTo>
                  <a:pt x="786" y="468"/>
                </a:lnTo>
                <a:lnTo>
                  <a:pt x="780" y="468"/>
                </a:lnTo>
                <a:lnTo>
                  <a:pt x="774" y="468"/>
                </a:lnTo>
                <a:lnTo>
                  <a:pt x="768" y="468"/>
                </a:lnTo>
                <a:lnTo>
                  <a:pt x="762" y="468"/>
                </a:lnTo>
                <a:lnTo>
                  <a:pt x="756" y="468"/>
                </a:lnTo>
                <a:lnTo>
                  <a:pt x="756" y="474"/>
                </a:lnTo>
                <a:lnTo>
                  <a:pt x="750" y="474"/>
                </a:lnTo>
                <a:lnTo>
                  <a:pt x="750" y="480"/>
                </a:lnTo>
                <a:lnTo>
                  <a:pt x="750" y="486"/>
                </a:lnTo>
                <a:lnTo>
                  <a:pt x="750" y="492"/>
                </a:lnTo>
                <a:lnTo>
                  <a:pt x="756" y="492"/>
                </a:lnTo>
                <a:lnTo>
                  <a:pt x="756" y="498"/>
                </a:lnTo>
                <a:lnTo>
                  <a:pt x="756" y="504"/>
                </a:lnTo>
                <a:lnTo>
                  <a:pt x="762" y="510"/>
                </a:lnTo>
                <a:lnTo>
                  <a:pt x="768" y="504"/>
                </a:lnTo>
                <a:lnTo>
                  <a:pt x="768" y="516"/>
                </a:lnTo>
                <a:lnTo>
                  <a:pt x="774" y="516"/>
                </a:lnTo>
                <a:lnTo>
                  <a:pt x="774" y="522"/>
                </a:lnTo>
                <a:lnTo>
                  <a:pt x="774" y="528"/>
                </a:lnTo>
                <a:lnTo>
                  <a:pt x="780" y="528"/>
                </a:lnTo>
                <a:lnTo>
                  <a:pt x="780" y="534"/>
                </a:lnTo>
                <a:lnTo>
                  <a:pt x="780" y="540"/>
                </a:lnTo>
                <a:lnTo>
                  <a:pt x="768" y="540"/>
                </a:lnTo>
                <a:lnTo>
                  <a:pt x="762" y="540"/>
                </a:lnTo>
                <a:lnTo>
                  <a:pt x="768" y="528"/>
                </a:lnTo>
                <a:lnTo>
                  <a:pt x="762" y="522"/>
                </a:lnTo>
                <a:lnTo>
                  <a:pt x="756" y="528"/>
                </a:lnTo>
                <a:lnTo>
                  <a:pt x="750" y="528"/>
                </a:lnTo>
                <a:lnTo>
                  <a:pt x="750" y="534"/>
                </a:lnTo>
                <a:lnTo>
                  <a:pt x="744" y="534"/>
                </a:lnTo>
                <a:lnTo>
                  <a:pt x="744" y="528"/>
                </a:lnTo>
                <a:lnTo>
                  <a:pt x="738" y="528"/>
                </a:lnTo>
                <a:lnTo>
                  <a:pt x="732" y="528"/>
                </a:lnTo>
                <a:lnTo>
                  <a:pt x="732" y="534"/>
                </a:lnTo>
                <a:lnTo>
                  <a:pt x="732" y="540"/>
                </a:lnTo>
                <a:lnTo>
                  <a:pt x="738" y="540"/>
                </a:lnTo>
                <a:lnTo>
                  <a:pt x="738" y="546"/>
                </a:lnTo>
                <a:lnTo>
                  <a:pt x="732" y="546"/>
                </a:lnTo>
                <a:lnTo>
                  <a:pt x="732" y="552"/>
                </a:lnTo>
                <a:lnTo>
                  <a:pt x="738" y="558"/>
                </a:lnTo>
                <a:lnTo>
                  <a:pt x="738" y="564"/>
                </a:lnTo>
                <a:lnTo>
                  <a:pt x="738" y="570"/>
                </a:lnTo>
                <a:lnTo>
                  <a:pt x="732" y="570"/>
                </a:lnTo>
                <a:lnTo>
                  <a:pt x="726" y="570"/>
                </a:lnTo>
                <a:lnTo>
                  <a:pt x="726" y="576"/>
                </a:lnTo>
                <a:lnTo>
                  <a:pt x="732" y="582"/>
                </a:lnTo>
                <a:lnTo>
                  <a:pt x="738" y="582"/>
                </a:lnTo>
                <a:lnTo>
                  <a:pt x="738" y="588"/>
                </a:lnTo>
                <a:lnTo>
                  <a:pt x="738" y="594"/>
                </a:lnTo>
                <a:lnTo>
                  <a:pt x="744" y="594"/>
                </a:lnTo>
                <a:lnTo>
                  <a:pt x="744" y="600"/>
                </a:lnTo>
                <a:lnTo>
                  <a:pt x="744" y="606"/>
                </a:lnTo>
                <a:lnTo>
                  <a:pt x="738" y="606"/>
                </a:lnTo>
                <a:lnTo>
                  <a:pt x="738" y="612"/>
                </a:lnTo>
                <a:lnTo>
                  <a:pt x="744" y="612"/>
                </a:lnTo>
                <a:lnTo>
                  <a:pt x="744" y="618"/>
                </a:lnTo>
                <a:lnTo>
                  <a:pt x="738" y="618"/>
                </a:lnTo>
                <a:lnTo>
                  <a:pt x="738" y="624"/>
                </a:lnTo>
                <a:lnTo>
                  <a:pt x="726" y="624"/>
                </a:lnTo>
                <a:lnTo>
                  <a:pt x="732" y="630"/>
                </a:lnTo>
                <a:lnTo>
                  <a:pt x="738" y="630"/>
                </a:lnTo>
                <a:lnTo>
                  <a:pt x="738" y="636"/>
                </a:lnTo>
                <a:lnTo>
                  <a:pt x="744" y="636"/>
                </a:lnTo>
                <a:lnTo>
                  <a:pt x="750" y="636"/>
                </a:lnTo>
                <a:lnTo>
                  <a:pt x="750" y="642"/>
                </a:lnTo>
                <a:lnTo>
                  <a:pt x="756" y="648"/>
                </a:lnTo>
                <a:lnTo>
                  <a:pt x="762" y="654"/>
                </a:lnTo>
                <a:lnTo>
                  <a:pt x="756" y="654"/>
                </a:lnTo>
                <a:lnTo>
                  <a:pt x="756" y="660"/>
                </a:lnTo>
                <a:lnTo>
                  <a:pt x="750" y="660"/>
                </a:lnTo>
                <a:lnTo>
                  <a:pt x="750" y="666"/>
                </a:lnTo>
                <a:lnTo>
                  <a:pt x="756" y="666"/>
                </a:lnTo>
                <a:lnTo>
                  <a:pt x="756" y="672"/>
                </a:lnTo>
                <a:lnTo>
                  <a:pt x="762" y="672"/>
                </a:lnTo>
                <a:lnTo>
                  <a:pt x="762" y="678"/>
                </a:lnTo>
                <a:lnTo>
                  <a:pt x="756" y="678"/>
                </a:lnTo>
                <a:lnTo>
                  <a:pt x="756" y="684"/>
                </a:lnTo>
                <a:lnTo>
                  <a:pt x="762" y="684"/>
                </a:lnTo>
                <a:lnTo>
                  <a:pt x="768" y="684"/>
                </a:lnTo>
                <a:lnTo>
                  <a:pt x="768" y="690"/>
                </a:lnTo>
                <a:lnTo>
                  <a:pt x="774" y="690"/>
                </a:lnTo>
                <a:lnTo>
                  <a:pt x="774" y="696"/>
                </a:lnTo>
                <a:lnTo>
                  <a:pt x="768" y="696"/>
                </a:lnTo>
                <a:lnTo>
                  <a:pt x="774" y="702"/>
                </a:lnTo>
                <a:lnTo>
                  <a:pt x="768" y="702"/>
                </a:lnTo>
                <a:lnTo>
                  <a:pt x="762" y="702"/>
                </a:lnTo>
                <a:lnTo>
                  <a:pt x="756" y="702"/>
                </a:lnTo>
                <a:lnTo>
                  <a:pt x="750" y="702"/>
                </a:lnTo>
                <a:lnTo>
                  <a:pt x="744" y="702"/>
                </a:lnTo>
                <a:lnTo>
                  <a:pt x="738" y="702"/>
                </a:lnTo>
                <a:lnTo>
                  <a:pt x="738" y="714"/>
                </a:lnTo>
                <a:lnTo>
                  <a:pt x="732" y="714"/>
                </a:lnTo>
                <a:lnTo>
                  <a:pt x="726" y="714"/>
                </a:lnTo>
                <a:lnTo>
                  <a:pt x="726" y="720"/>
                </a:lnTo>
                <a:lnTo>
                  <a:pt x="720" y="720"/>
                </a:lnTo>
                <a:lnTo>
                  <a:pt x="720" y="732"/>
                </a:lnTo>
                <a:lnTo>
                  <a:pt x="714" y="732"/>
                </a:lnTo>
                <a:lnTo>
                  <a:pt x="708" y="732"/>
                </a:lnTo>
                <a:lnTo>
                  <a:pt x="702" y="732"/>
                </a:lnTo>
                <a:lnTo>
                  <a:pt x="696" y="738"/>
                </a:lnTo>
                <a:lnTo>
                  <a:pt x="690" y="738"/>
                </a:lnTo>
                <a:lnTo>
                  <a:pt x="684" y="744"/>
                </a:lnTo>
                <a:lnTo>
                  <a:pt x="678" y="744"/>
                </a:lnTo>
                <a:lnTo>
                  <a:pt x="684" y="750"/>
                </a:lnTo>
                <a:lnTo>
                  <a:pt x="684" y="756"/>
                </a:lnTo>
                <a:lnTo>
                  <a:pt x="684" y="762"/>
                </a:lnTo>
                <a:lnTo>
                  <a:pt x="684" y="756"/>
                </a:lnTo>
                <a:lnTo>
                  <a:pt x="690" y="756"/>
                </a:lnTo>
                <a:lnTo>
                  <a:pt x="690" y="762"/>
                </a:lnTo>
                <a:lnTo>
                  <a:pt x="690" y="768"/>
                </a:lnTo>
                <a:lnTo>
                  <a:pt x="684" y="768"/>
                </a:lnTo>
                <a:lnTo>
                  <a:pt x="678" y="768"/>
                </a:lnTo>
                <a:lnTo>
                  <a:pt x="672" y="768"/>
                </a:lnTo>
                <a:lnTo>
                  <a:pt x="666" y="768"/>
                </a:lnTo>
                <a:lnTo>
                  <a:pt x="660" y="768"/>
                </a:lnTo>
                <a:lnTo>
                  <a:pt x="660" y="774"/>
                </a:lnTo>
                <a:lnTo>
                  <a:pt x="654" y="774"/>
                </a:lnTo>
                <a:lnTo>
                  <a:pt x="648" y="774"/>
                </a:lnTo>
                <a:lnTo>
                  <a:pt x="648" y="768"/>
                </a:lnTo>
                <a:lnTo>
                  <a:pt x="642" y="768"/>
                </a:lnTo>
                <a:lnTo>
                  <a:pt x="642" y="774"/>
                </a:lnTo>
                <a:lnTo>
                  <a:pt x="636" y="774"/>
                </a:lnTo>
                <a:lnTo>
                  <a:pt x="630" y="774"/>
                </a:lnTo>
                <a:lnTo>
                  <a:pt x="630" y="780"/>
                </a:lnTo>
                <a:lnTo>
                  <a:pt x="624" y="780"/>
                </a:lnTo>
                <a:lnTo>
                  <a:pt x="624" y="786"/>
                </a:lnTo>
                <a:lnTo>
                  <a:pt x="618" y="786"/>
                </a:lnTo>
                <a:lnTo>
                  <a:pt x="612" y="780"/>
                </a:lnTo>
                <a:lnTo>
                  <a:pt x="612" y="786"/>
                </a:lnTo>
                <a:lnTo>
                  <a:pt x="606" y="786"/>
                </a:lnTo>
                <a:lnTo>
                  <a:pt x="600" y="786"/>
                </a:lnTo>
                <a:lnTo>
                  <a:pt x="594" y="792"/>
                </a:lnTo>
                <a:lnTo>
                  <a:pt x="594" y="798"/>
                </a:lnTo>
                <a:lnTo>
                  <a:pt x="600" y="798"/>
                </a:lnTo>
                <a:lnTo>
                  <a:pt x="600" y="804"/>
                </a:lnTo>
                <a:lnTo>
                  <a:pt x="594" y="810"/>
                </a:lnTo>
                <a:lnTo>
                  <a:pt x="594" y="816"/>
                </a:lnTo>
                <a:lnTo>
                  <a:pt x="600" y="816"/>
                </a:lnTo>
                <a:lnTo>
                  <a:pt x="600" y="822"/>
                </a:lnTo>
                <a:lnTo>
                  <a:pt x="600" y="828"/>
                </a:lnTo>
                <a:lnTo>
                  <a:pt x="606" y="834"/>
                </a:lnTo>
                <a:lnTo>
                  <a:pt x="606" y="840"/>
                </a:lnTo>
                <a:lnTo>
                  <a:pt x="600" y="840"/>
                </a:lnTo>
                <a:lnTo>
                  <a:pt x="600" y="846"/>
                </a:lnTo>
                <a:lnTo>
                  <a:pt x="600" y="852"/>
                </a:lnTo>
                <a:lnTo>
                  <a:pt x="600" y="858"/>
                </a:lnTo>
                <a:lnTo>
                  <a:pt x="600" y="864"/>
                </a:lnTo>
                <a:lnTo>
                  <a:pt x="594" y="864"/>
                </a:lnTo>
                <a:lnTo>
                  <a:pt x="594" y="870"/>
                </a:lnTo>
                <a:lnTo>
                  <a:pt x="588" y="876"/>
                </a:lnTo>
                <a:lnTo>
                  <a:pt x="582" y="882"/>
                </a:lnTo>
                <a:lnTo>
                  <a:pt x="582" y="888"/>
                </a:lnTo>
                <a:lnTo>
                  <a:pt x="582" y="894"/>
                </a:lnTo>
                <a:lnTo>
                  <a:pt x="582" y="900"/>
                </a:lnTo>
                <a:lnTo>
                  <a:pt x="588" y="900"/>
                </a:lnTo>
                <a:lnTo>
                  <a:pt x="588" y="894"/>
                </a:lnTo>
                <a:lnTo>
                  <a:pt x="594" y="894"/>
                </a:lnTo>
                <a:lnTo>
                  <a:pt x="600" y="894"/>
                </a:lnTo>
                <a:lnTo>
                  <a:pt x="606" y="900"/>
                </a:lnTo>
                <a:lnTo>
                  <a:pt x="600" y="900"/>
                </a:lnTo>
                <a:lnTo>
                  <a:pt x="606" y="906"/>
                </a:lnTo>
                <a:lnTo>
                  <a:pt x="600" y="906"/>
                </a:lnTo>
                <a:lnTo>
                  <a:pt x="600" y="912"/>
                </a:lnTo>
                <a:lnTo>
                  <a:pt x="606" y="912"/>
                </a:lnTo>
                <a:lnTo>
                  <a:pt x="600" y="912"/>
                </a:lnTo>
                <a:lnTo>
                  <a:pt x="600" y="918"/>
                </a:lnTo>
                <a:lnTo>
                  <a:pt x="606" y="918"/>
                </a:lnTo>
                <a:lnTo>
                  <a:pt x="600" y="918"/>
                </a:lnTo>
                <a:lnTo>
                  <a:pt x="594" y="918"/>
                </a:lnTo>
                <a:lnTo>
                  <a:pt x="588" y="918"/>
                </a:lnTo>
                <a:lnTo>
                  <a:pt x="582" y="918"/>
                </a:lnTo>
                <a:lnTo>
                  <a:pt x="582" y="912"/>
                </a:lnTo>
                <a:lnTo>
                  <a:pt x="576" y="912"/>
                </a:lnTo>
                <a:lnTo>
                  <a:pt x="576" y="918"/>
                </a:lnTo>
                <a:lnTo>
                  <a:pt x="576" y="924"/>
                </a:lnTo>
                <a:lnTo>
                  <a:pt x="570" y="924"/>
                </a:lnTo>
                <a:lnTo>
                  <a:pt x="564" y="924"/>
                </a:lnTo>
                <a:lnTo>
                  <a:pt x="558" y="924"/>
                </a:lnTo>
                <a:lnTo>
                  <a:pt x="558" y="930"/>
                </a:lnTo>
                <a:lnTo>
                  <a:pt x="552" y="936"/>
                </a:lnTo>
                <a:lnTo>
                  <a:pt x="546" y="942"/>
                </a:lnTo>
                <a:lnTo>
                  <a:pt x="546" y="948"/>
                </a:lnTo>
                <a:lnTo>
                  <a:pt x="540" y="948"/>
                </a:lnTo>
                <a:lnTo>
                  <a:pt x="534" y="948"/>
                </a:lnTo>
                <a:lnTo>
                  <a:pt x="528" y="948"/>
                </a:lnTo>
                <a:lnTo>
                  <a:pt x="522" y="954"/>
                </a:lnTo>
                <a:lnTo>
                  <a:pt x="516" y="954"/>
                </a:lnTo>
                <a:lnTo>
                  <a:pt x="516" y="948"/>
                </a:lnTo>
                <a:lnTo>
                  <a:pt x="510" y="948"/>
                </a:lnTo>
                <a:lnTo>
                  <a:pt x="504" y="948"/>
                </a:lnTo>
                <a:lnTo>
                  <a:pt x="504" y="942"/>
                </a:lnTo>
                <a:lnTo>
                  <a:pt x="498" y="942"/>
                </a:lnTo>
                <a:lnTo>
                  <a:pt x="504" y="942"/>
                </a:lnTo>
                <a:lnTo>
                  <a:pt x="498" y="942"/>
                </a:lnTo>
                <a:lnTo>
                  <a:pt x="492" y="942"/>
                </a:lnTo>
                <a:lnTo>
                  <a:pt x="498" y="936"/>
                </a:lnTo>
                <a:lnTo>
                  <a:pt x="498" y="930"/>
                </a:lnTo>
                <a:lnTo>
                  <a:pt x="492" y="930"/>
                </a:lnTo>
                <a:lnTo>
                  <a:pt x="486" y="930"/>
                </a:lnTo>
                <a:lnTo>
                  <a:pt x="480" y="930"/>
                </a:lnTo>
                <a:lnTo>
                  <a:pt x="480" y="924"/>
                </a:lnTo>
                <a:lnTo>
                  <a:pt x="474" y="924"/>
                </a:lnTo>
                <a:lnTo>
                  <a:pt x="468" y="924"/>
                </a:lnTo>
                <a:lnTo>
                  <a:pt x="468" y="918"/>
                </a:lnTo>
                <a:lnTo>
                  <a:pt x="462" y="918"/>
                </a:lnTo>
                <a:lnTo>
                  <a:pt x="468" y="918"/>
                </a:lnTo>
                <a:lnTo>
                  <a:pt x="468" y="912"/>
                </a:lnTo>
                <a:lnTo>
                  <a:pt x="462" y="912"/>
                </a:lnTo>
                <a:lnTo>
                  <a:pt x="462" y="906"/>
                </a:lnTo>
                <a:lnTo>
                  <a:pt x="462" y="900"/>
                </a:lnTo>
                <a:lnTo>
                  <a:pt x="456" y="900"/>
                </a:lnTo>
                <a:lnTo>
                  <a:pt x="456" y="894"/>
                </a:lnTo>
                <a:lnTo>
                  <a:pt x="456" y="888"/>
                </a:lnTo>
                <a:lnTo>
                  <a:pt x="450" y="888"/>
                </a:lnTo>
                <a:lnTo>
                  <a:pt x="450" y="882"/>
                </a:lnTo>
                <a:lnTo>
                  <a:pt x="450" y="876"/>
                </a:lnTo>
                <a:lnTo>
                  <a:pt x="444" y="876"/>
                </a:lnTo>
                <a:lnTo>
                  <a:pt x="438" y="876"/>
                </a:lnTo>
                <a:lnTo>
                  <a:pt x="438" y="870"/>
                </a:lnTo>
                <a:lnTo>
                  <a:pt x="438" y="864"/>
                </a:lnTo>
                <a:lnTo>
                  <a:pt x="432" y="858"/>
                </a:lnTo>
                <a:lnTo>
                  <a:pt x="426" y="852"/>
                </a:lnTo>
                <a:lnTo>
                  <a:pt x="420" y="852"/>
                </a:lnTo>
                <a:lnTo>
                  <a:pt x="414" y="852"/>
                </a:lnTo>
                <a:lnTo>
                  <a:pt x="408" y="864"/>
                </a:lnTo>
                <a:lnTo>
                  <a:pt x="402" y="864"/>
                </a:lnTo>
                <a:lnTo>
                  <a:pt x="402" y="858"/>
                </a:lnTo>
                <a:lnTo>
                  <a:pt x="396" y="858"/>
                </a:lnTo>
                <a:lnTo>
                  <a:pt x="396" y="852"/>
                </a:lnTo>
                <a:lnTo>
                  <a:pt x="390" y="852"/>
                </a:lnTo>
                <a:lnTo>
                  <a:pt x="390" y="846"/>
                </a:lnTo>
                <a:lnTo>
                  <a:pt x="384" y="840"/>
                </a:lnTo>
                <a:lnTo>
                  <a:pt x="378" y="840"/>
                </a:lnTo>
                <a:lnTo>
                  <a:pt x="372" y="840"/>
                </a:lnTo>
                <a:lnTo>
                  <a:pt x="372" y="834"/>
                </a:lnTo>
                <a:lnTo>
                  <a:pt x="372" y="828"/>
                </a:lnTo>
                <a:lnTo>
                  <a:pt x="366" y="828"/>
                </a:lnTo>
                <a:lnTo>
                  <a:pt x="366" y="822"/>
                </a:lnTo>
                <a:lnTo>
                  <a:pt x="366" y="816"/>
                </a:lnTo>
                <a:lnTo>
                  <a:pt x="372" y="816"/>
                </a:lnTo>
                <a:lnTo>
                  <a:pt x="378" y="816"/>
                </a:lnTo>
                <a:lnTo>
                  <a:pt x="378" y="810"/>
                </a:lnTo>
                <a:lnTo>
                  <a:pt x="384" y="810"/>
                </a:lnTo>
                <a:lnTo>
                  <a:pt x="390" y="810"/>
                </a:lnTo>
                <a:lnTo>
                  <a:pt x="390" y="804"/>
                </a:lnTo>
                <a:lnTo>
                  <a:pt x="396" y="804"/>
                </a:lnTo>
                <a:lnTo>
                  <a:pt x="402" y="804"/>
                </a:lnTo>
                <a:lnTo>
                  <a:pt x="408" y="804"/>
                </a:lnTo>
                <a:lnTo>
                  <a:pt x="408" y="798"/>
                </a:lnTo>
                <a:lnTo>
                  <a:pt x="414" y="798"/>
                </a:lnTo>
                <a:lnTo>
                  <a:pt x="420" y="798"/>
                </a:lnTo>
                <a:lnTo>
                  <a:pt x="414" y="792"/>
                </a:lnTo>
                <a:lnTo>
                  <a:pt x="420" y="792"/>
                </a:lnTo>
                <a:lnTo>
                  <a:pt x="420" y="786"/>
                </a:lnTo>
                <a:lnTo>
                  <a:pt x="420" y="780"/>
                </a:lnTo>
                <a:lnTo>
                  <a:pt x="426" y="780"/>
                </a:lnTo>
                <a:lnTo>
                  <a:pt x="432" y="780"/>
                </a:lnTo>
                <a:lnTo>
                  <a:pt x="438" y="780"/>
                </a:lnTo>
                <a:lnTo>
                  <a:pt x="444" y="780"/>
                </a:lnTo>
                <a:lnTo>
                  <a:pt x="444" y="774"/>
                </a:lnTo>
                <a:lnTo>
                  <a:pt x="444" y="768"/>
                </a:lnTo>
                <a:lnTo>
                  <a:pt x="438" y="768"/>
                </a:lnTo>
                <a:lnTo>
                  <a:pt x="438" y="762"/>
                </a:lnTo>
                <a:lnTo>
                  <a:pt x="444" y="762"/>
                </a:lnTo>
                <a:lnTo>
                  <a:pt x="444" y="756"/>
                </a:lnTo>
                <a:lnTo>
                  <a:pt x="438" y="750"/>
                </a:lnTo>
                <a:lnTo>
                  <a:pt x="432" y="750"/>
                </a:lnTo>
                <a:lnTo>
                  <a:pt x="432" y="744"/>
                </a:lnTo>
                <a:lnTo>
                  <a:pt x="426" y="744"/>
                </a:lnTo>
                <a:lnTo>
                  <a:pt x="420" y="738"/>
                </a:lnTo>
                <a:lnTo>
                  <a:pt x="420" y="732"/>
                </a:lnTo>
                <a:lnTo>
                  <a:pt x="420" y="726"/>
                </a:lnTo>
                <a:lnTo>
                  <a:pt x="426" y="726"/>
                </a:lnTo>
                <a:lnTo>
                  <a:pt x="426" y="720"/>
                </a:lnTo>
                <a:lnTo>
                  <a:pt x="426" y="714"/>
                </a:lnTo>
                <a:lnTo>
                  <a:pt x="432" y="714"/>
                </a:lnTo>
                <a:lnTo>
                  <a:pt x="432" y="708"/>
                </a:lnTo>
                <a:lnTo>
                  <a:pt x="432" y="702"/>
                </a:lnTo>
                <a:lnTo>
                  <a:pt x="432" y="708"/>
                </a:lnTo>
                <a:lnTo>
                  <a:pt x="426" y="708"/>
                </a:lnTo>
                <a:lnTo>
                  <a:pt x="426" y="702"/>
                </a:lnTo>
                <a:lnTo>
                  <a:pt x="426" y="708"/>
                </a:lnTo>
                <a:lnTo>
                  <a:pt x="426" y="702"/>
                </a:lnTo>
                <a:lnTo>
                  <a:pt x="426" y="708"/>
                </a:lnTo>
                <a:lnTo>
                  <a:pt x="426" y="702"/>
                </a:lnTo>
                <a:lnTo>
                  <a:pt x="426" y="708"/>
                </a:lnTo>
                <a:lnTo>
                  <a:pt x="426" y="702"/>
                </a:lnTo>
                <a:lnTo>
                  <a:pt x="420" y="702"/>
                </a:lnTo>
                <a:lnTo>
                  <a:pt x="414" y="696"/>
                </a:lnTo>
                <a:lnTo>
                  <a:pt x="414" y="690"/>
                </a:lnTo>
                <a:lnTo>
                  <a:pt x="408" y="690"/>
                </a:lnTo>
                <a:lnTo>
                  <a:pt x="402" y="690"/>
                </a:lnTo>
                <a:lnTo>
                  <a:pt x="396" y="684"/>
                </a:lnTo>
                <a:lnTo>
                  <a:pt x="396" y="690"/>
                </a:lnTo>
                <a:lnTo>
                  <a:pt x="396" y="696"/>
                </a:lnTo>
                <a:lnTo>
                  <a:pt x="396" y="702"/>
                </a:lnTo>
                <a:lnTo>
                  <a:pt x="396" y="708"/>
                </a:lnTo>
                <a:lnTo>
                  <a:pt x="402" y="708"/>
                </a:lnTo>
                <a:lnTo>
                  <a:pt x="396" y="708"/>
                </a:lnTo>
                <a:lnTo>
                  <a:pt x="396" y="714"/>
                </a:lnTo>
                <a:lnTo>
                  <a:pt x="390" y="714"/>
                </a:lnTo>
                <a:lnTo>
                  <a:pt x="390" y="720"/>
                </a:lnTo>
                <a:lnTo>
                  <a:pt x="384" y="720"/>
                </a:lnTo>
                <a:lnTo>
                  <a:pt x="384" y="726"/>
                </a:lnTo>
                <a:lnTo>
                  <a:pt x="378" y="732"/>
                </a:lnTo>
                <a:lnTo>
                  <a:pt x="372" y="732"/>
                </a:lnTo>
                <a:lnTo>
                  <a:pt x="372" y="738"/>
                </a:lnTo>
                <a:lnTo>
                  <a:pt x="366" y="738"/>
                </a:lnTo>
                <a:lnTo>
                  <a:pt x="360" y="738"/>
                </a:lnTo>
                <a:lnTo>
                  <a:pt x="354" y="738"/>
                </a:lnTo>
                <a:lnTo>
                  <a:pt x="354" y="732"/>
                </a:lnTo>
                <a:lnTo>
                  <a:pt x="348" y="732"/>
                </a:lnTo>
                <a:lnTo>
                  <a:pt x="342" y="732"/>
                </a:lnTo>
                <a:lnTo>
                  <a:pt x="342" y="738"/>
                </a:lnTo>
                <a:lnTo>
                  <a:pt x="336" y="738"/>
                </a:lnTo>
                <a:lnTo>
                  <a:pt x="330" y="738"/>
                </a:lnTo>
                <a:lnTo>
                  <a:pt x="324" y="738"/>
                </a:lnTo>
                <a:lnTo>
                  <a:pt x="318" y="738"/>
                </a:lnTo>
                <a:lnTo>
                  <a:pt x="312" y="738"/>
                </a:lnTo>
                <a:lnTo>
                  <a:pt x="306" y="738"/>
                </a:lnTo>
                <a:lnTo>
                  <a:pt x="300" y="738"/>
                </a:lnTo>
                <a:lnTo>
                  <a:pt x="300" y="744"/>
                </a:lnTo>
                <a:lnTo>
                  <a:pt x="294" y="744"/>
                </a:lnTo>
                <a:lnTo>
                  <a:pt x="288" y="744"/>
                </a:lnTo>
                <a:lnTo>
                  <a:pt x="288" y="750"/>
                </a:lnTo>
                <a:lnTo>
                  <a:pt x="288" y="756"/>
                </a:lnTo>
                <a:lnTo>
                  <a:pt x="282" y="756"/>
                </a:lnTo>
                <a:lnTo>
                  <a:pt x="282" y="762"/>
                </a:lnTo>
                <a:lnTo>
                  <a:pt x="276" y="762"/>
                </a:lnTo>
                <a:lnTo>
                  <a:pt x="276" y="756"/>
                </a:lnTo>
                <a:lnTo>
                  <a:pt x="270" y="756"/>
                </a:lnTo>
                <a:lnTo>
                  <a:pt x="276" y="756"/>
                </a:lnTo>
                <a:lnTo>
                  <a:pt x="276" y="750"/>
                </a:lnTo>
                <a:lnTo>
                  <a:pt x="270" y="750"/>
                </a:lnTo>
                <a:lnTo>
                  <a:pt x="270" y="744"/>
                </a:lnTo>
                <a:lnTo>
                  <a:pt x="270" y="738"/>
                </a:lnTo>
                <a:lnTo>
                  <a:pt x="264" y="744"/>
                </a:lnTo>
                <a:lnTo>
                  <a:pt x="258" y="744"/>
                </a:lnTo>
                <a:lnTo>
                  <a:pt x="258" y="738"/>
                </a:lnTo>
                <a:lnTo>
                  <a:pt x="252" y="738"/>
                </a:lnTo>
                <a:lnTo>
                  <a:pt x="246" y="738"/>
                </a:lnTo>
                <a:lnTo>
                  <a:pt x="240" y="738"/>
                </a:lnTo>
                <a:lnTo>
                  <a:pt x="240" y="744"/>
                </a:lnTo>
                <a:lnTo>
                  <a:pt x="240" y="750"/>
                </a:lnTo>
                <a:lnTo>
                  <a:pt x="240" y="756"/>
                </a:lnTo>
                <a:lnTo>
                  <a:pt x="234" y="756"/>
                </a:lnTo>
                <a:lnTo>
                  <a:pt x="234" y="750"/>
                </a:lnTo>
                <a:lnTo>
                  <a:pt x="228" y="750"/>
                </a:lnTo>
                <a:lnTo>
                  <a:pt x="228" y="744"/>
                </a:lnTo>
                <a:lnTo>
                  <a:pt x="228" y="738"/>
                </a:lnTo>
                <a:lnTo>
                  <a:pt x="228" y="732"/>
                </a:lnTo>
                <a:lnTo>
                  <a:pt x="228" y="726"/>
                </a:lnTo>
                <a:lnTo>
                  <a:pt x="234" y="726"/>
                </a:lnTo>
                <a:lnTo>
                  <a:pt x="234" y="720"/>
                </a:lnTo>
                <a:lnTo>
                  <a:pt x="228" y="720"/>
                </a:lnTo>
                <a:lnTo>
                  <a:pt x="222" y="720"/>
                </a:lnTo>
                <a:lnTo>
                  <a:pt x="222" y="714"/>
                </a:lnTo>
                <a:lnTo>
                  <a:pt x="222" y="708"/>
                </a:lnTo>
                <a:lnTo>
                  <a:pt x="228" y="708"/>
                </a:lnTo>
                <a:lnTo>
                  <a:pt x="228" y="702"/>
                </a:lnTo>
                <a:lnTo>
                  <a:pt x="228" y="708"/>
                </a:lnTo>
                <a:lnTo>
                  <a:pt x="222" y="708"/>
                </a:lnTo>
                <a:lnTo>
                  <a:pt x="216" y="708"/>
                </a:lnTo>
                <a:lnTo>
                  <a:pt x="210" y="714"/>
                </a:lnTo>
                <a:lnTo>
                  <a:pt x="204" y="714"/>
                </a:lnTo>
                <a:lnTo>
                  <a:pt x="198" y="714"/>
                </a:lnTo>
                <a:lnTo>
                  <a:pt x="192" y="714"/>
                </a:lnTo>
                <a:lnTo>
                  <a:pt x="186" y="708"/>
                </a:lnTo>
                <a:lnTo>
                  <a:pt x="180" y="708"/>
                </a:lnTo>
                <a:lnTo>
                  <a:pt x="174" y="708"/>
                </a:lnTo>
                <a:lnTo>
                  <a:pt x="174" y="702"/>
                </a:lnTo>
                <a:lnTo>
                  <a:pt x="168" y="702"/>
                </a:lnTo>
                <a:lnTo>
                  <a:pt x="168" y="696"/>
                </a:lnTo>
                <a:lnTo>
                  <a:pt x="162" y="696"/>
                </a:lnTo>
                <a:lnTo>
                  <a:pt x="162" y="690"/>
                </a:lnTo>
                <a:lnTo>
                  <a:pt x="156" y="690"/>
                </a:lnTo>
                <a:lnTo>
                  <a:pt x="156" y="684"/>
                </a:lnTo>
                <a:lnTo>
                  <a:pt x="150" y="684"/>
                </a:lnTo>
                <a:lnTo>
                  <a:pt x="150" y="678"/>
                </a:lnTo>
                <a:lnTo>
                  <a:pt x="150" y="672"/>
                </a:lnTo>
                <a:lnTo>
                  <a:pt x="150" y="666"/>
                </a:lnTo>
                <a:lnTo>
                  <a:pt x="144" y="666"/>
                </a:lnTo>
                <a:lnTo>
                  <a:pt x="138" y="666"/>
                </a:lnTo>
                <a:lnTo>
                  <a:pt x="132" y="672"/>
                </a:lnTo>
                <a:lnTo>
                  <a:pt x="126" y="672"/>
                </a:lnTo>
                <a:lnTo>
                  <a:pt x="120" y="672"/>
                </a:lnTo>
                <a:lnTo>
                  <a:pt x="114" y="672"/>
                </a:lnTo>
                <a:lnTo>
                  <a:pt x="114" y="666"/>
                </a:lnTo>
                <a:lnTo>
                  <a:pt x="108" y="666"/>
                </a:lnTo>
                <a:lnTo>
                  <a:pt x="102" y="666"/>
                </a:lnTo>
                <a:lnTo>
                  <a:pt x="102" y="660"/>
                </a:lnTo>
                <a:lnTo>
                  <a:pt x="102" y="654"/>
                </a:lnTo>
                <a:lnTo>
                  <a:pt x="96" y="654"/>
                </a:lnTo>
                <a:lnTo>
                  <a:pt x="90" y="660"/>
                </a:lnTo>
                <a:lnTo>
                  <a:pt x="84" y="660"/>
                </a:lnTo>
                <a:lnTo>
                  <a:pt x="78" y="660"/>
                </a:lnTo>
                <a:lnTo>
                  <a:pt x="72" y="660"/>
                </a:lnTo>
                <a:lnTo>
                  <a:pt x="72" y="654"/>
                </a:lnTo>
                <a:lnTo>
                  <a:pt x="66" y="654"/>
                </a:lnTo>
                <a:lnTo>
                  <a:pt x="60" y="654"/>
                </a:lnTo>
                <a:lnTo>
                  <a:pt x="60" y="648"/>
                </a:lnTo>
                <a:lnTo>
                  <a:pt x="54" y="648"/>
                </a:lnTo>
                <a:lnTo>
                  <a:pt x="48" y="648"/>
                </a:lnTo>
                <a:lnTo>
                  <a:pt x="48" y="642"/>
                </a:lnTo>
                <a:lnTo>
                  <a:pt x="42" y="648"/>
                </a:lnTo>
                <a:lnTo>
                  <a:pt x="36" y="648"/>
                </a:lnTo>
                <a:lnTo>
                  <a:pt x="36" y="654"/>
                </a:lnTo>
                <a:lnTo>
                  <a:pt x="30" y="654"/>
                </a:lnTo>
                <a:lnTo>
                  <a:pt x="30" y="648"/>
                </a:lnTo>
                <a:lnTo>
                  <a:pt x="24" y="648"/>
                </a:lnTo>
                <a:lnTo>
                  <a:pt x="24" y="642"/>
                </a:lnTo>
                <a:lnTo>
                  <a:pt x="18" y="642"/>
                </a:lnTo>
                <a:lnTo>
                  <a:pt x="12" y="642"/>
                </a:lnTo>
                <a:lnTo>
                  <a:pt x="6" y="642"/>
                </a:lnTo>
                <a:lnTo>
                  <a:pt x="6" y="636"/>
                </a:lnTo>
                <a:lnTo>
                  <a:pt x="0" y="636"/>
                </a:lnTo>
                <a:lnTo>
                  <a:pt x="0" y="630"/>
                </a:lnTo>
                <a:lnTo>
                  <a:pt x="6" y="630"/>
                </a:lnTo>
                <a:lnTo>
                  <a:pt x="6" y="624"/>
                </a:lnTo>
                <a:lnTo>
                  <a:pt x="12" y="624"/>
                </a:lnTo>
                <a:lnTo>
                  <a:pt x="12" y="618"/>
                </a:lnTo>
                <a:lnTo>
                  <a:pt x="18" y="618"/>
                </a:lnTo>
                <a:lnTo>
                  <a:pt x="18" y="612"/>
                </a:lnTo>
                <a:lnTo>
                  <a:pt x="12" y="612"/>
                </a:lnTo>
                <a:lnTo>
                  <a:pt x="12" y="606"/>
                </a:lnTo>
                <a:lnTo>
                  <a:pt x="18" y="606"/>
                </a:lnTo>
                <a:lnTo>
                  <a:pt x="18" y="600"/>
                </a:lnTo>
                <a:lnTo>
                  <a:pt x="24" y="600"/>
                </a:lnTo>
                <a:lnTo>
                  <a:pt x="30" y="606"/>
                </a:lnTo>
                <a:lnTo>
                  <a:pt x="30" y="612"/>
                </a:lnTo>
                <a:lnTo>
                  <a:pt x="36" y="612"/>
                </a:lnTo>
                <a:lnTo>
                  <a:pt x="36" y="606"/>
                </a:lnTo>
                <a:lnTo>
                  <a:pt x="42" y="606"/>
                </a:lnTo>
                <a:lnTo>
                  <a:pt x="42" y="600"/>
                </a:lnTo>
                <a:lnTo>
                  <a:pt x="48" y="600"/>
                </a:lnTo>
                <a:lnTo>
                  <a:pt x="54" y="600"/>
                </a:lnTo>
                <a:lnTo>
                  <a:pt x="54" y="606"/>
                </a:lnTo>
                <a:lnTo>
                  <a:pt x="54" y="612"/>
                </a:lnTo>
                <a:lnTo>
                  <a:pt x="60" y="612"/>
                </a:lnTo>
                <a:lnTo>
                  <a:pt x="66" y="612"/>
                </a:lnTo>
                <a:lnTo>
                  <a:pt x="66" y="606"/>
                </a:lnTo>
                <a:lnTo>
                  <a:pt x="66" y="600"/>
                </a:lnTo>
                <a:lnTo>
                  <a:pt x="72" y="600"/>
                </a:lnTo>
                <a:lnTo>
                  <a:pt x="66" y="600"/>
                </a:lnTo>
                <a:lnTo>
                  <a:pt x="66" y="594"/>
                </a:lnTo>
                <a:lnTo>
                  <a:pt x="66" y="588"/>
                </a:lnTo>
                <a:lnTo>
                  <a:pt x="66" y="582"/>
                </a:lnTo>
                <a:lnTo>
                  <a:pt x="66" y="576"/>
                </a:lnTo>
                <a:lnTo>
                  <a:pt x="72" y="576"/>
                </a:lnTo>
                <a:lnTo>
                  <a:pt x="72" y="570"/>
                </a:lnTo>
                <a:lnTo>
                  <a:pt x="72" y="564"/>
                </a:lnTo>
                <a:lnTo>
                  <a:pt x="66" y="564"/>
                </a:lnTo>
                <a:lnTo>
                  <a:pt x="66" y="558"/>
                </a:lnTo>
                <a:lnTo>
                  <a:pt x="66" y="552"/>
                </a:lnTo>
                <a:lnTo>
                  <a:pt x="66" y="546"/>
                </a:lnTo>
                <a:lnTo>
                  <a:pt x="72" y="546"/>
                </a:lnTo>
                <a:lnTo>
                  <a:pt x="72" y="540"/>
                </a:lnTo>
                <a:lnTo>
                  <a:pt x="72" y="534"/>
                </a:lnTo>
                <a:lnTo>
                  <a:pt x="78" y="534"/>
                </a:lnTo>
                <a:lnTo>
                  <a:pt x="78" y="528"/>
                </a:lnTo>
                <a:lnTo>
                  <a:pt x="78" y="522"/>
                </a:lnTo>
                <a:lnTo>
                  <a:pt x="84" y="522"/>
                </a:lnTo>
                <a:lnTo>
                  <a:pt x="84" y="516"/>
                </a:lnTo>
                <a:lnTo>
                  <a:pt x="84" y="510"/>
                </a:lnTo>
                <a:lnTo>
                  <a:pt x="90" y="510"/>
                </a:lnTo>
                <a:lnTo>
                  <a:pt x="90" y="504"/>
                </a:lnTo>
                <a:lnTo>
                  <a:pt x="90" y="498"/>
                </a:lnTo>
                <a:lnTo>
                  <a:pt x="90" y="492"/>
                </a:lnTo>
                <a:lnTo>
                  <a:pt x="96" y="492"/>
                </a:lnTo>
                <a:lnTo>
                  <a:pt x="102" y="492"/>
                </a:lnTo>
                <a:lnTo>
                  <a:pt x="108" y="492"/>
                </a:lnTo>
                <a:lnTo>
                  <a:pt x="108" y="486"/>
                </a:lnTo>
                <a:lnTo>
                  <a:pt x="114" y="486"/>
                </a:lnTo>
                <a:lnTo>
                  <a:pt x="120" y="486"/>
                </a:lnTo>
                <a:lnTo>
                  <a:pt x="126" y="486"/>
                </a:lnTo>
                <a:lnTo>
                  <a:pt x="132" y="486"/>
                </a:lnTo>
                <a:lnTo>
                  <a:pt x="138" y="486"/>
                </a:lnTo>
                <a:lnTo>
                  <a:pt x="144" y="486"/>
                </a:lnTo>
                <a:lnTo>
                  <a:pt x="144" y="480"/>
                </a:lnTo>
                <a:lnTo>
                  <a:pt x="144" y="486"/>
                </a:lnTo>
                <a:lnTo>
                  <a:pt x="150" y="486"/>
                </a:lnTo>
                <a:lnTo>
                  <a:pt x="150" y="480"/>
                </a:lnTo>
                <a:lnTo>
                  <a:pt x="150" y="474"/>
                </a:lnTo>
                <a:lnTo>
                  <a:pt x="144" y="474"/>
                </a:lnTo>
                <a:lnTo>
                  <a:pt x="144" y="468"/>
                </a:lnTo>
                <a:lnTo>
                  <a:pt x="144" y="462"/>
                </a:lnTo>
                <a:lnTo>
                  <a:pt x="144" y="456"/>
                </a:lnTo>
                <a:lnTo>
                  <a:pt x="144" y="450"/>
                </a:lnTo>
                <a:lnTo>
                  <a:pt x="144" y="444"/>
                </a:lnTo>
                <a:lnTo>
                  <a:pt x="144" y="438"/>
                </a:lnTo>
                <a:lnTo>
                  <a:pt x="144" y="432"/>
                </a:lnTo>
                <a:lnTo>
                  <a:pt x="150" y="432"/>
                </a:lnTo>
                <a:lnTo>
                  <a:pt x="150" y="426"/>
                </a:lnTo>
                <a:lnTo>
                  <a:pt x="144" y="420"/>
                </a:lnTo>
                <a:lnTo>
                  <a:pt x="138" y="420"/>
                </a:lnTo>
                <a:lnTo>
                  <a:pt x="132" y="420"/>
                </a:lnTo>
                <a:lnTo>
                  <a:pt x="132" y="414"/>
                </a:lnTo>
                <a:lnTo>
                  <a:pt x="132" y="408"/>
                </a:lnTo>
                <a:lnTo>
                  <a:pt x="138" y="408"/>
                </a:lnTo>
                <a:lnTo>
                  <a:pt x="144" y="408"/>
                </a:lnTo>
                <a:lnTo>
                  <a:pt x="144" y="402"/>
                </a:lnTo>
                <a:lnTo>
                  <a:pt x="150" y="402"/>
                </a:lnTo>
                <a:lnTo>
                  <a:pt x="150" y="396"/>
                </a:lnTo>
                <a:lnTo>
                  <a:pt x="150" y="390"/>
                </a:lnTo>
                <a:lnTo>
                  <a:pt x="150" y="384"/>
                </a:lnTo>
                <a:lnTo>
                  <a:pt x="156" y="384"/>
                </a:lnTo>
                <a:lnTo>
                  <a:pt x="162" y="378"/>
                </a:lnTo>
                <a:lnTo>
                  <a:pt x="162" y="384"/>
                </a:lnTo>
                <a:lnTo>
                  <a:pt x="162" y="378"/>
                </a:lnTo>
                <a:lnTo>
                  <a:pt x="162" y="372"/>
                </a:lnTo>
                <a:lnTo>
                  <a:pt x="156" y="366"/>
                </a:lnTo>
                <a:lnTo>
                  <a:pt x="150" y="366"/>
                </a:lnTo>
                <a:lnTo>
                  <a:pt x="144" y="360"/>
                </a:lnTo>
                <a:lnTo>
                  <a:pt x="150" y="360"/>
                </a:lnTo>
                <a:lnTo>
                  <a:pt x="150" y="354"/>
                </a:lnTo>
                <a:lnTo>
                  <a:pt x="150" y="348"/>
                </a:lnTo>
                <a:lnTo>
                  <a:pt x="156" y="348"/>
                </a:lnTo>
                <a:lnTo>
                  <a:pt x="156" y="342"/>
                </a:lnTo>
                <a:lnTo>
                  <a:pt x="162" y="342"/>
                </a:lnTo>
                <a:lnTo>
                  <a:pt x="168" y="342"/>
                </a:lnTo>
                <a:lnTo>
                  <a:pt x="168" y="348"/>
                </a:lnTo>
                <a:lnTo>
                  <a:pt x="174" y="342"/>
                </a:lnTo>
                <a:lnTo>
                  <a:pt x="180" y="348"/>
                </a:lnTo>
                <a:lnTo>
                  <a:pt x="186" y="348"/>
                </a:lnTo>
                <a:lnTo>
                  <a:pt x="186" y="342"/>
                </a:lnTo>
                <a:lnTo>
                  <a:pt x="192" y="342"/>
                </a:lnTo>
                <a:lnTo>
                  <a:pt x="186" y="330"/>
                </a:lnTo>
                <a:lnTo>
                  <a:pt x="180" y="330"/>
                </a:lnTo>
                <a:lnTo>
                  <a:pt x="180" y="324"/>
                </a:lnTo>
                <a:lnTo>
                  <a:pt x="174" y="324"/>
                </a:lnTo>
                <a:lnTo>
                  <a:pt x="174" y="318"/>
                </a:lnTo>
                <a:lnTo>
                  <a:pt x="180" y="318"/>
                </a:lnTo>
                <a:lnTo>
                  <a:pt x="180" y="312"/>
                </a:lnTo>
                <a:lnTo>
                  <a:pt x="180" y="306"/>
                </a:lnTo>
                <a:lnTo>
                  <a:pt x="180" y="300"/>
                </a:lnTo>
                <a:lnTo>
                  <a:pt x="174" y="300"/>
                </a:lnTo>
                <a:lnTo>
                  <a:pt x="174" y="294"/>
                </a:lnTo>
                <a:lnTo>
                  <a:pt x="180" y="294"/>
                </a:lnTo>
                <a:lnTo>
                  <a:pt x="186" y="294"/>
                </a:lnTo>
                <a:lnTo>
                  <a:pt x="186" y="288"/>
                </a:lnTo>
                <a:lnTo>
                  <a:pt x="192" y="288"/>
                </a:lnTo>
                <a:lnTo>
                  <a:pt x="198" y="288"/>
                </a:lnTo>
                <a:lnTo>
                  <a:pt x="204" y="288"/>
                </a:lnTo>
                <a:lnTo>
                  <a:pt x="204" y="282"/>
                </a:lnTo>
                <a:lnTo>
                  <a:pt x="204" y="276"/>
                </a:lnTo>
                <a:lnTo>
                  <a:pt x="198" y="276"/>
                </a:lnTo>
                <a:lnTo>
                  <a:pt x="204" y="276"/>
                </a:lnTo>
                <a:lnTo>
                  <a:pt x="204" y="270"/>
                </a:lnTo>
                <a:lnTo>
                  <a:pt x="204" y="264"/>
                </a:lnTo>
                <a:lnTo>
                  <a:pt x="204" y="258"/>
                </a:lnTo>
                <a:lnTo>
                  <a:pt x="198" y="258"/>
                </a:lnTo>
                <a:lnTo>
                  <a:pt x="192" y="258"/>
                </a:lnTo>
                <a:lnTo>
                  <a:pt x="186" y="258"/>
                </a:lnTo>
                <a:lnTo>
                  <a:pt x="186" y="252"/>
                </a:lnTo>
                <a:lnTo>
                  <a:pt x="186" y="246"/>
                </a:lnTo>
                <a:lnTo>
                  <a:pt x="186" y="240"/>
                </a:lnTo>
                <a:lnTo>
                  <a:pt x="186" y="234"/>
                </a:lnTo>
                <a:lnTo>
                  <a:pt x="192" y="234"/>
                </a:lnTo>
                <a:lnTo>
                  <a:pt x="198" y="234"/>
                </a:lnTo>
                <a:lnTo>
                  <a:pt x="204" y="234"/>
                </a:lnTo>
                <a:lnTo>
                  <a:pt x="210" y="234"/>
                </a:lnTo>
                <a:lnTo>
                  <a:pt x="210" y="240"/>
                </a:lnTo>
                <a:lnTo>
                  <a:pt x="216" y="240"/>
                </a:lnTo>
                <a:lnTo>
                  <a:pt x="222" y="240"/>
                </a:lnTo>
                <a:lnTo>
                  <a:pt x="222" y="234"/>
                </a:lnTo>
                <a:lnTo>
                  <a:pt x="222" y="228"/>
                </a:lnTo>
                <a:lnTo>
                  <a:pt x="222" y="222"/>
                </a:lnTo>
                <a:lnTo>
                  <a:pt x="216" y="216"/>
                </a:lnTo>
                <a:lnTo>
                  <a:pt x="216" y="210"/>
                </a:lnTo>
                <a:lnTo>
                  <a:pt x="216" y="204"/>
                </a:lnTo>
                <a:lnTo>
                  <a:pt x="216" y="198"/>
                </a:lnTo>
                <a:lnTo>
                  <a:pt x="222" y="198"/>
                </a:lnTo>
                <a:lnTo>
                  <a:pt x="222" y="192"/>
                </a:lnTo>
                <a:lnTo>
                  <a:pt x="228" y="192"/>
                </a:lnTo>
                <a:lnTo>
                  <a:pt x="234" y="192"/>
                </a:lnTo>
                <a:lnTo>
                  <a:pt x="240" y="192"/>
                </a:lnTo>
                <a:lnTo>
                  <a:pt x="246" y="192"/>
                </a:lnTo>
                <a:lnTo>
                  <a:pt x="246" y="186"/>
                </a:lnTo>
                <a:lnTo>
                  <a:pt x="252" y="186"/>
                </a:lnTo>
                <a:lnTo>
                  <a:pt x="246" y="186"/>
                </a:lnTo>
                <a:lnTo>
                  <a:pt x="240" y="186"/>
                </a:lnTo>
                <a:lnTo>
                  <a:pt x="240" y="180"/>
                </a:lnTo>
                <a:lnTo>
                  <a:pt x="246" y="174"/>
                </a:lnTo>
                <a:lnTo>
                  <a:pt x="252" y="174"/>
                </a:lnTo>
                <a:lnTo>
                  <a:pt x="252" y="180"/>
                </a:lnTo>
                <a:lnTo>
                  <a:pt x="258" y="180"/>
                </a:lnTo>
                <a:lnTo>
                  <a:pt x="258" y="174"/>
                </a:lnTo>
                <a:lnTo>
                  <a:pt x="264" y="174"/>
                </a:lnTo>
                <a:lnTo>
                  <a:pt x="270" y="168"/>
                </a:lnTo>
                <a:lnTo>
                  <a:pt x="264" y="168"/>
                </a:lnTo>
                <a:lnTo>
                  <a:pt x="258" y="168"/>
                </a:lnTo>
                <a:lnTo>
                  <a:pt x="258" y="162"/>
                </a:lnTo>
                <a:lnTo>
                  <a:pt x="252" y="162"/>
                </a:lnTo>
                <a:lnTo>
                  <a:pt x="252" y="156"/>
                </a:lnTo>
                <a:lnTo>
                  <a:pt x="252" y="150"/>
                </a:lnTo>
                <a:lnTo>
                  <a:pt x="258" y="144"/>
                </a:lnTo>
                <a:lnTo>
                  <a:pt x="258" y="138"/>
                </a:lnTo>
                <a:lnTo>
                  <a:pt x="258" y="132"/>
                </a:lnTo>
                <a:lnTo>
                  <a:pt x="252" y="132"/>
                </a:lnTo>
                <a:lnTo>
                  <a:pt x="252" y="126"/>
                </a:lnTo>
                <a:lnTo>
                  <a:pt x="252" y="120"/>
                </a:lnTo>
                <a:lnTo>
                  <a:pt x="252" y="114"/>
                </a:lnTo>
                <a:lnTo>
                  <a:pt x="258" y="114"/>
                </a:lnTo>
                <a:lnTo>
                  <a:pt x="264" y="114"/>
                </a:lnTo>
                <a:lnTo>
                  <a:pt x="270" y="114"/>
                </a:lnTo>
                <a:lnTo>
                  <a:pt x="270" y="108"/>
                </a:lnTo>
                <a:lnTo>
                  <a:pt x="276" y="108"/>
                </a:lnTo>
                <a:lnTo>
                  <a:pt x="276" y="102"/>
                </a:lnTo>
                <a:lnTo>
                  <a:pt x="282" y="102"/>
                </a:lnTo>
                <a:lnTo>
                  <a:pt x="276" y="102"/>
                </a:lnTo>
                <a:lnTo>
                  <a:pt x="270" y="102"/>
                </a:lnTo>
                <a:lnTo>
                  <a:pt x="270" y="96"/>
                </a:lnTo>
                <a:lnTo>
                  <a:pt x="270" y="90"/>
                </a:lnTo>
                <a:lnTo>
                  <a:pt x="270" y="84"/>
                </a:lnTo>
                <a:lnTo>
                  <a:pt x="276" y="84"/>
                </a:lnTo>
                <a:lnTo>
                  <a:pt x="276" y="78"/>
                </a:lnTo>
                <a:lnTo>
                  <a:pt x="270" y="78"/>
                </a:lnTo>
                <a:lnTo>
                  <a:pt x="270" y="72"/>
                </a:lnTo>
                <a:lnTo>
                  <a:pt x="270" y="66"/>
                </a:lnTo>
                <a:lnTo>
                  <a:pt x="270" y="60"/>
                </a:lnTo>
                <a:lnTo>
                  <a:pt x="264" y="60"/>
                </a:lnTo>
                <a:lnTo>
                  <a:pt x="258" y="60"/>
                </a:lnTo>
                <a:lnTo>
                  <a:pt x="258" y="48"/>
                </a:lnTo>
                <a:lnTo>
                  <a:pt x="258" y="42"/>
                </a:lnTo>
                <a:lnTo>
                  <a:pt x="264" y="42"/>
                </a:lnTo>
                <a:lnTo>
                  <a:pt x="264" y="36"/>
                </a:lnTo>
                <a:lnTo>
                  <a:pt x="270" y="36"/>
                </a:lnTo>
                <a:lnTo>
                  <a:pt x="276" y="36"/>
                </a:lnTo>
                <a:lnTo>
                  <a:pt x="282" y="36"/>
                </a:lnTo>
                <a:lnTo>
                  <a:pt x="282" y="30"/>
                </a:lnTo>
                <a:lnTo>
                  <a:pt x="282" y="24"/>
                </a:lnTo>
                <a:lnTo>
                  <a:pt x="282" y="18"/>
                </a:lnTo>
                <a:lnTo>
                  <a:pt x="282" y="12"/>
                </a:lnTo>
                <a:lnTo>
                  <a:pt x="288" y="18"/>
                </a:lnTo>
                <a:lnTo>
                  <a:pt x="288" y="24"/>
                </a:lnTo>
                <a:lnTo>
                  <a:pt x="294" y="24"/>
                </a:lnTo>
                <a:lnTo>
                  <a:pt x="294" y="30"/>
                </a:lnTo>
                <a:lnTo>
                  <a:pt x="300" y="30"/>
                </a:lnTo>
                <a:lnTo>
                  <a:pt x="306" y="30"/>
                </a:lnTo>
                <a:lnTo>
                  <a:pt x="312" y="36"/>
                </a:lnTo>
                <a:lnTo>
                  <a:pt x="312" y="30"/>
                </a:lnTo>
                <a:lnTo>
                  <a:pt x="318" y="36"/>
                </a:lnTo>
                <a:lnTo>
                  <a:pt x="318" y="30"/>
                </a:lnTo>
                <a:lnTo>
                  <a:pt x="324" y="30"/>
                </a:lnTo>
                <a:lnTo>
                  <a:pt x="330" y="30"/>
                </a:lnTo>
                <a:lnTo>
                  <a:pt x="330" y="24"/>
                </a:lnTo>
                <a:lnTo>
                  <a:pt x="336" y="24"/>
                </a:lnTo>
                <a:lnTo>
                  <a:pt x="348" y="18"/>
                </a:lnTo>
                <a:lnTo>
                  <a:pt x="354" y="18"/>
                </a:lnTo>
                <a:lnTo>
                  <a:pt x="354" y="12"/>
                </a:lnTo>
                <a:lnTo>
                  <a:pt x="360" y="12"/>
                </a:lnTo>
                <a:lnTo>
                  <a:pt x="366" y="12"/>
                </a:lnTo>
                <a:lnTo>
                  <a:pt x="372" y="12"/>
                </a:lnTo>
                <a:lnTo>
                  <a:pt x="372" y="6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5" name="Freeform 21">
            <a:extLst>
              <a:ext uri="{FF2B5EF4-FFF2-40B4-BE49-F238E27FC236}">
                <a16:creationId xmlns:a16="http://schemas.microsoft.com/office/drawing/2014/main" id="{B84297E4-6DA9-4AF2-BE62-7C4E7404F087}"/>
              </a:ext>
            </a:extLst>
          </p:cNvPr>
          <p:cNvSpPr>
            <a:spLocks/>
          </p:cNvSpPr>
          <p:nvPr/>
        </p:nvSpPr>
        <p:spPr bwMode="gray">
          <a:xfrm rot="533595">
            <a:off x="7026543" y="3519166"/>
            <a:ext cx="1224633" cy="1346029"/>
          </a:xfrm>
          <a:custGeom>
            <a:avLst/>
            <a:gdLst>
              <a:gd name="T0" fmla="*/ 714 w 1350"/>
              <a:gd name="T1" fmla="*/ 48 h 1590"/>
              <a:gd name="T2" fmla="*/ 768 w 1350"/>
              <a:gd name="T3" fmla="*/ 60 h 1590"/>
              <a:gd name="T4" fmla="*/ 816 w 1350"/>
              <a:gd name="T5" fmla="*/ 72 h 1590"/>
              <a:gd name="T6" fmla="*/ 888 w 1350"/>
              <a:gd name="T7" fmla="*/ 108 h 1590"/>
              <a:gd name="T8" fmla="*/ 936 w 1350"/>
              <a:gd name="T9" fmla="*/ 180 h 1590"/>
              <a:gd name="T10" fmla="*/ 918 w 1350"/>
              <a:gd name="T11" fmla="*/ 264 h 1590"/>
              <a:gd name="T12" fmla="*/ 924 w 1350"/>
              <a:gd name="T13" fmla="*/ 324 h 1590"/>
              <a:gd name="T14" fmla="*/ 924 w 1350"/>
              <a:gd name="T15" fmla="*/ 372 h 1590"/>
              <a:gd name="T16" fmla="*/ 924 w 1350"/>
              <a:gd name="T17" fmla="*/ 450 h 1590"/>
              <a:gd name="T18" fmla="*/ 942 w 1350"/>
              <a:gd name="T19" fmla="*/ 528 h 1590"/>
              <a:gd name="T20" fmla="*/ 984 w 1350"/>
              <a:gd name="T21" fmla="*/ 576 h 1590"/>
              <a:gd name="T22" fmla="*/ 1020 w 1350"/>
              <a:gd name="T23" fmla="*/ 672 h 1590"/>
              <a:gd name="T24" fmla="*/ 1080 w 1350"/>
              <a:gd name="T25" fmla="*/ 780 h 1590"/>
              <a:gd name="T26" fmla="*/ 1146 w 1350"/>
              <a:gd name="T27" fmla="*/ 846 h 1590"/>
              <a:gd name="T28" fmla="*/ 1218 w 1350"/>
              <a:gd name="T29" fmla="*/ 942 h 1590"/>
              <a:gd name="T30" fmla="*/ 1260 w 1350"/>
              <a:gd name="T31" fmla="*/ 1062 h 1590"/>
              <a:gd name="T32" fmla="*/ 1320 w 1350"/>
              <a:gd name="T33" fmla="*/ 1134 h 1590"/>
              <a:gd name="T34" fmla="*/ 1350 w 1350"/>
              <a:gd name="T35" fmla="*/ 1278 h 1590"/>
              <a:gd name="T36" fmla="*/ 1218 w 1350"/>
              <a:gd name="T37" fmla="*/ 1410 h 1590"/>
              <a:gd name="T38" fmla="*/ 1140 w 1350"/>
              <a:gd name="T39" fmla="*/ 1524 h 1590"/>
              <a:gd name="T40" fmla="*/ 1050 w 1350"/>
              <a:gd name="T41" fmla="*/ 1518 h 1590"/>
              <a:gd name="T42" fmla="*/ 1020 w 1350"/>
              <a:gd name="T43" fmla="*/ 1446 h 1590"/>
              <a:gd name="T44" fmla="*/ 930 w 1350"/>
              <a:gd name="T45" fmla="*/ 1476 h 1590"/>
              <a:gd name="T46" fmla="*/ 864 w 1350"/>
              <a:gd name="T47" fmla="*/ 1560 h 1590"/>
              <a:gd name="T48" fmla="*/ 762 w 1350"/>
              <a:gd name="T49" fmla="*/ 1572 h 1590"/>
              <a:gd name="T50" fmla="*/ 678 w 1350"/>
              <a:gd name="T51" fmla="*/ 1584 h 1590"/>
              <a:gd name="T52" fmla="*/ 678 w 1350"/>
              <a:gd name="T53" fmla="*/ 1548 h 1590"/>
              <a:gd name="T54" fmla="*/ 576 w 1350"/>
              <a:gd name="T55" fmla="*/ 1554 h 1590"/>
              <a:gd name="T56" fmla="*/ 558 w 1350"/>
              <a:gd name="T57" fmla="*/ 1494 h 1590"/>
              <a:gd name="T58" fmla="*/ 606 w 1350"/>
              <a:gd name="T59" fmla="*/ 1470 h 1590"/>
              <a:gd name="T60" fmla="*/ 606 w 1350"/>
              <a:gd name="T61" fmla="*/ 1446 h 1590"/>
              <a:gd name="T62" fmla="*/ 588 w 1350"/>
              <a:gd name="T63" fmla="*/ 1404 h 1590"/>
              <a:gd name="T64" fmla="*/ 540 w 1350"/>
              <a:gd name="T65" fmla="*/ 1380 h 1590"/>
              <a:gd name="T66" fmla="*/ 456 w 1350"/>
              <a:gd name="T67" fmla="*/ 1374 h 1590"/>
              <a:gd name="T68" fmla="*/ 372 w 1350"/>
              <a:gd name="T69" fmla="*/ 1344 h 1590"/>
              <a:gd name="T70" fmla="*/ 372 w 1350"/>
              <a:gd name="T71" fmla="*/ 1266 h 1590"/>
              <a:gd name="T72" fmla="*/ 294 w 1350"/>
              <a:gd name="T73" fmla="*/ 1260 h 1590"/>
              <a:gd name="T74" fmla="*/ 222 w 1350"/>
              <a:gd name="T75" fmla="*/ 1260 h 1590"/>
              <a:gd name="T76" fmla="*/ 180 w 1350"/>
              <a:gd name="T77" fmla="*/ 1140 h 1590"/>
              <a:gd name="T78" fmla="*/ 144 w 1350"/>
              <a:gd name="T79" fmla="*/ 1032 h 1590"/>
              <a:gd name="T80" fmla="*/ 144 w 1350"/>
              <a:gd name="T81" fmla="*/ 948 h 1590"/>
              <a:gd name="T82" fmla="*/ 120 w 1350"/>
              <a:gd name="T83" fmla="*/ 894 h 1590"/>
              <a:gd name="T84" fmla="*/ 126 w 1350"/>
              <a:gd name="T85" fmla="*/ 822 h 1590"/>
              <a:gd name="T86" fmla="*/ 132 w 1350"/>
              <a:gd name="T87" fmla="*/ 780 h 1590"/>
              <a:gd name="T88" fmla="*/ 108 w 1350"/>
              <a:gd name="T89" fmla="*/ 678 h 1590"/>
              <a:gd name="T90" fmla="*/ 0 w 1350"/>
              <a:gd name="T91" fmla="*/ 654 h 1590"/>
              <a:gd name="T92" fmla="*/ 66 w 1350"/>
              <a:gd name="T93" fmla="*/ 624 h 1590"/>
              <a:gd name="T94" fmla="*/ 126 w 1350"/>
              <a:gd name="T95" fmla="*/ 558 h 1590"/>
              <a:gd name="T96" fmla="*/ 120 w 1350"/>
              <a:gd name="T97" fmla="*/ 498 h 1590"/>
              <a:gd name="T98" fmla="*/ 108 w 1350"/>
              <a:gd name="T99" fmla="*/ 462 h 1590"/>
              <a:gd name="T100" fmla="*/ 102 w 1350"/>
              <a:gd name="T101" fmla="*/ 420 h 1590"/>
              <a:gd name="T102" fmla="*/ 102 w 1350"/>
              <a:gd name="T103" fmla="*/ 342 h 1590"/>
              <a:gd name="T104" fmla="*/ 186 w 1350"/>
              <a:gd name="T105" fmla="*/ 318 h 1590"/>
              <a:gd name="T106" fmla="*/ 270 w 1350"/>
              <a:gd name="T107" fmla="*/ 276 h 1590"/>
              <a:gd name="T108" fmla="*/ 342 w 1350"/>
              <a:gd name="T109" fmla="*/ 270 h 1590"/>
              <a:gd name="T110" fmla="*/ 408 w 1350"/>
              <a:gd name="T111" fmla="*/ 246 h 1590"/>
              <a:gd name="T112" fmla="*/ 438 w 1350"/>
              <a:gd name="T113" fmla="*/ 204 h 1590"/>
              <a:gd name="T114" fmla="*/ 522 w 1350"/>
              <a:gd name="T115" fmla="*/ 198 h 1590"/>
              <a:gd name="T116" fmla="*/ 558 w 1350"/>
              <a:gd name="T117" fmla="*/ 162 h 1590"/>
              <a:gd name="T118" fmla="*/ 588 w 1350"/>
              <a:gd name="T119" fmla="*/ 108 h 1590"/>
              <a:gd name="T120" fmla="*/ 612 w 1350"/>
              <a:gd name="T121" fmla="*/ 42 h 159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350" h="1590">
                <a:moveTo>
                  <a:pt x="654" y="12"/>
                </a:moveTo>
                <a:lnTo>
                  <a:pt x="660" y="12"/>
                </a:lnTo>
                <a:lnTo>
                  <a:pt x="666" y="12"/>
                </a:lnTo>
                <a:lnTo>
                  <a:pt x="666" y="18"/>
                </a:lnTo>
                <a:lnTo>
                  <a:pt x="666" y="24"/>
                </a:lnTo>
                <a:lnTo>
                  <a:pt x="672" y="24"/>
                </a:lnTo>
                <a:lnTo>
                  <a:pt x="672" y="30"/>
                </a:lnTo>
                <a:lnTo>
                  <a:pt x="666" y="30"/>
                </a:lnTo>
                <a:lnTo>
                  <a:pt x="666" y="36"/>
                </a:lnTo>
                <a:lnTo>
                  <a:pt x="666" y="42"/>
                </a:lnTo>
                <a:lnTo>
                  <a:pt x="672" y="48"/>
                </a:lnTo>
                <a:lnTo>
                  <a:pt x="672" y="54"/>
                </a:lnTo>
                <a:lnTo>
                  <a:pt x="678" y="54"/>
                </a:lnTo>
                <a:lnTo>
                  <a:pt x="678" y="48"/>
                </a:lnTo>
                <a:lnTo>
                  <a:pt x="684" y="48"/>
                </a:lnTo>
                <a:lnTo>
                  <a:pt x="684" y="54"/>
                </a:lnTo>
                <a:lnTo>
                  <a:pt x="690" y="54"/>
                </a:lnTo>
                <a:lnTo>
                  <a:pt x="696" y="54"/>
                </a:lnTo>
                <a:lnTo>
                  <a:pt x="702" y="54"/>
                </a:lnTo>
                <a:lnTo>
                  <a:pt x="708" y="54"/>
                </a:lnTo>
                <a:lnTo>
                  <a:pt x="714" y="54"/>
                </a:lnTo>
                <a:lnTo>
                  <a:pt x="714" y="48"/>
                </a:lnTo>
                <a:lnTo>
                  <a:pt x="720" y="48"/>
                </a:lnTo>
                <a:lnTo>
                  <a:pt x="726" y="48"/>
                </a:lnTo>
                <a:lnTo>
                  <a:pt x="720" y="48"/>
                </a:lnTo>
                <a:lnTo>
                  <a:pt x="720" y="54"/>
                </a:lnTo>
                <a:lnTo>
                  <a:pt x="726" y="54"/>
                </a:lnTo>
                <a:lnTo>
                  <a:pt x="732" y="54"/>
                </a:lnTo>
                <a:lnTo>
                  <a:pt x="738" y="54"/>
                </a:lnTo>
                <a:lnTo>
                  <a:pt x="744" y="54"/>
                </a:lnTo>
                <a:lnTo>
                  <a:pt x="744" y="48"/>
                </a:lnTo>
                <a:lnTo>
                  <a:pt x="750" y="48"/>
                </a:lnTo>
                <a:lnTo>
                  <a:pt x="750" y="54"/>
                </a:lnTo>
                <a:lnTo>
                  <a:pt x="744" y="54"/>
                </a:lnTo>
                <a:lnTo>
                  <a:pt x="750" y="54"/>
                </a:lnTo>
                <a:lnTo>
                  <a:pt x="756" y="48"/>
                </a:lnTo>
                <a:lnTo>
                  <a:pt x="756" y="54"/>
                </a:lnTo>
                <a:lnTo>
                  <a:pt x="756" y="60"/>
                </a:lnTo>
                <a:lnTo>
                  <a:pt x="762" y="60"/>
                </a:lnTo>
                <a:lnTo>
                  <a:pt x="762" y="54"/>
                </a:lnTo>
                <a:lnTo>
                  <a:pt x="768" y="54"/>
                </a:lnTo>
                <a:lnTo>
                  <a:pt x="768" y="60"/>
                </a:lnTo>
                <a:lnTo>
                  <a:pt x="774" y="60"/>
                </a:lnTo>
                <a:lnTo>
                  <a:pt x="768" y="60"/>
                </a:lnTo>
                <a:lnTo>
                  <a:pt x="768" y="66"/>
                </a:lnTo>
                <a:lnTo>
                  <a:pt x="774" y="66"/>
                </a:lnTo>
                <a:lnTo>
                  <a:pt x="774" y="72"/>
                </a:lnTo>
                <a:lnTo>
                  <a:pt x="774" y="66"/>
                </a:lnTo>
                <a:lnTo>
                  <a:pt x="780" y="66"/>
                </a:lnTo>
                <a:lnTo>
                  <a:pt x="780" y="72"/>
                </a:lnTo>
                <a:lnTo>
                  <a:pt x="786" y="72"/>
                </a:lnTo>
                <a:lnTo>
                  <a:pt x="792" y="72"/>
                </a:lnTo>
                <a:lnTo>
                  <a:pt x="792" y="66"/>
                </a:lnTo>
                <a:lnTo>
                  <a:pt x="798" y="66"/>
                </a:lnTo>
                <a:lnTo>
                  <a:pt x="798" y="60"/>
                </a:lnTo>
                <a:lnTo>
                  <a:pt x="804" y="60"/>
                </a:lnTo>
                <a:lnTo>
                  <a:pt x="804" y="66"/>
                </a:lnTo>
                <a:lnTo>
                  <a:pt x="810" y="66"/>
                </a:lnTo>
                <a:lnTo>
                  <a:pt x="810" y="60"/>
                </a:lnTo>
                <a:lnTo>
                  <a:pt x="816" y="60"/>
                </a:lnTo>
                <a:lnTo>
                  <a:pt x="822" y="60"/>
                </a:lnTo>
                <a:lnTo>
                  <a:pt x="822" y="66"/>
                </a:lnTo>
                <a:lnTo>
                  <a:pt x="816" y="66"/>
                </a:lnTo>
                <a:lnTo>
                  <a:pt x="822" y="66"/>
                </a:lnTo>
                <a:lnTo>
                  <a:pt x="822" y="72"/>
                </a:lnTo>
                <a:lnTo>
                  <a:pt x="816" y="72"/>
                </a:lnTo>
                <a:lnTo>
                  <a:pt x="816" y="78"/>
                </a:lnTo>
                <a:lnTo>
                  <a:pt x="816" y="84"/>
                </a:lnTo>
                <a:lnTo>
                  <a:pt x="822" y="84"/>
                </a:lnTo>
                <a:lnTo>
                  <a:pt x="828" y="84"/>
                </a:lnTo>
                <a:lnTo>
                  <a:pt x="834" y="84"/>
                </a:lnTo>
                <a:lnTo>
                  <a:pt x="834" y="90"/>
                </a:lnTo>
                <a:lnTo>
                  <a:pt x="834" y="96"/>
                </a:lnTo>
                <a:lnTo>
                  <a:pt x="840" y="96"/>
                </a:lnTo>
                <a:lnTo>
                  <a:pt x="846" y="96"/>
                </a:lnTo>
                <a:lnTo>
                  <a:pt x="846" y="102"/>
                </a:lnTo>
                <a:lnTo>
                  <a:pt x="852" y="102"/>
                </a:lnTo>
                <a:lnTo>
                  <a:pt x="852" y="108"/>
                </a:lnTo>
                <a:lnTo>
                  <a:pt x="858" y="108"/>
                </a:lnTo>
                <a:lnTo>
                  <a:pt x="858" y="102"/>
                </a:lnTo>
                <a:lnTo>
                  <a:pt x="864" y="102"/>
                </a:lnTo>
                <a:lnTo>
                  <a:pt x="870" y="102"/>
                </a:lnTo>
                <a:lnTo>
                  <a:pt x="876" y="102"/>
                </a:lnTo>
                <a:lnTo>
                  <a:pt x="882" y="102"/>
                </a:lnTo>
                <a:lnTo>
                  <a:pt x="882" y="108"/>
                </a:lnTo>
                <a:lnTo>
                  <a:pt x="882" y="102"/>
                </a:lnTo>
                <a:lnTo>
                  <a:pt x="888" y="102"/>
                </a:lnTo>
                <a:lnTo>
                  <a:pt x="888" y="108"/>
                </a:lnTo>
                <a:lnTo>
                  <a:pt x="882" y="108"/>
                </a:lnTo>
                <a:lnTo>
                  <a:pt x="882" y="114"/>
                </a:lnTo>
                <a:lnTo>
                  <a:pt x="888" y="114"/>
                </a:lnTo>
                <a:lnTo>
                  <a:pt x="894" y="120"/>
                </a:lnTo>
                <a:lnTo>
                  <a:pt x="900" y="120"/>
                </a:lnTo>
                <a:lnTo>
                  <a:pt x="900" y="126"/>
                </a:lnTo>
                <a:lnTo>
                  <a:pt x="906" y="126"/>
                </a:lnTo>
                <a:lnTo>
                  <a:pt x="906" y="132"/>
                </a:lnTo>
                <a:lnTo>
                  <a:pt x="906" y="138"/>
                </a:lnTo>
                <a:lnTo>
                  <a:pt x="912" y="138"/>
                </a:lnTo>
                <a:lnTo>
                  <a:pt x="906" y="138"/>
                </a:lnTo>
                <a:lnTo>
                  <a:pt x="906" y="144"/>
                </a:lnTo>
                <a:lnTo>
                  <a:pt x="912" y="144"/>
                </a:lnTo>
                <a:lnTo>
                  <a:pt x="912" y="150"/>
                </a:lnTo>
                <a:lnTo>
                  <a:pt x="918" y="150"/>
                </a:lnTo>
                <a:lnTo>
                  <a:pt x="918" y="156"/>
                </a:lnTo>
                <a:lnTo>
                  <a:pt x="918" y="162"/>
                </a:lnTo>
                <a:lnTo>
                  <a:pt x="918" y="168"/>
                </a:lnTo>
                <a:lnTo>
                  <a:pt x="918" y="174"/>
                </a:lnTo>
                <a:lnTo>
                  <a:pt x="924" y="174"/>
                </a:lnTo>
                <a:lnTo>
                  <a:pt x="930" y="180"/>
                </a:lnTo>
                <a:lnTo>
                  <a:pt x="936" y="180"/>
                </a:lnTo>
                <a:lnTo>
                  <a:pt x="936" y="186"/>
                </a:lnTo>
                <a:lnTo>
                  <a:pt x="936" y="192"/>
                </a:lnTo>
                <a:lnTo>
                  <a:pt x="936" y="198"/>
                </a:lnTo>
                <a:lnTo>
                  <a:pt x="930" y="198"/>
                </a:lnTo>
                <a:lnTo>
                  <a:pt x="930" y="204"/>
                </a:lnTo>
                <a:lnTo>
                  <a:pt x="930" y="210"/>
                </a:lnTo>
                <a:lnTo>
                  <a:pt x="924" y="210"/>
                </a:lnTo>
                <a:lnTo>
                  <a:pt x="924" y="216"/>
                </a:lnTo>
                <a:lnTo>
                  <a:pt x="924" y="222"/>
                </a:lnTo>
                <a:lnTo>
                  <a:pt x="918" y="222"/>
                </a:lnTo>
                <a:lnTo>
                  <a:pt x="912" y="222"/>
                </a:lnTo>
                <a:lnTo>
                  <a:pt x="912" y="228"/>
                </a:lnTo>
                <a:lnTo>
                  <a:pt x="918" y="228"/>
                </a:lnTo>
                <a:lnTo>
                  <a:pt x="924" y="228"/>
                </a:lnTo>
                <a:lnTo>
                  <a:pt x="924" y="234"/>
                </a:lnTo>
                <a:lnTo>
                  <a:pt x="924" y="240"/>
                </a:lnTo>
                <a:lnTo>
                  <a:pt x="918" y="240"/>
                </a:lnTo>
                <a:lnTo>
                  <a:pt x="918" y="246"/>
                </a:lnTo>
                <a:lnTo>
                  <a:pt x="912" y="246"/>
                </a:lnTo>
                <a:lnTo>
                  <a:pt x="912" y="252"/>
                </a:lnTo>
                <a:lnTo>
                  <a:pt x="918" y="258"/>
                </a:lnTo>
                <a:lnTo>
                  <a:pt x="918" y="264"/>
                </a:lnTo>
                <a:lnTo>
                  <a:pt x="924" y="264"/>
                </a:lnTo>
                <a:lnTo>
                  <a:pt x="924" y="270"/>
                </a:lnTo>
                <a:lnTo>
                  <a:pt x="930" y="270"/>
                </a:lnTo>
                <a:lnTo>
                  <a:pt x="924" y="270"/>
                </a:lnTo>
                <a:lnTo>
                  <a:pt x="924" y="276"/>
                </a:lnTo>
                <a:lnTo>
                  <a:pt x="924" y="282"/>
                </a:lnTo>
                <a:lnTo>
                  <a:pt x="930" y="282"/>
                </a:lnTo>
                <a:lnTo>
                  <a:pt x="930" y="288"/>
                </a:lnTo>
                <a:lnTo>
                  <a:pt x="924" y="288"/>
                </a:lnTo>
                <a:lnTo>
                  <a:pt x="924" y="282"/>
                </a:lnTo>
                <a:lnTo>
                  <a:pt x="918" y="282"/>
                </a:lnTo>
                <a:lnTo>
                  <a:pt x="918" y="288"/>
                </a:lnTo>
                <a:lnTo>
                  <a:pt x="918" y="294"/>
                </a:lnTo>
                <a:lnTo>
                  <a:pt x="918" y="300"/>
                </a:lnTo>
                <a:lnTo>
                  <a:pt x="924" y="300"/>
                </a:lnTo>
                <a:lnTo>
                  <a:pt x="924" y="306"/>
                </a:lnTo>
                <a:lnTo>
                  <a:pt x="924" y="312"/>
                </a:lnTo>
                <a:lnTo>
                  <a:pt x="918" y="312"/>
                </a:lnTo>
                <a:lnTo>
                  <a:pt x="924" y="312"/>
                </a:lnTo>
                <a:lnTo>
                  <a:pt x="924" y="318"/>
                </a:lnTo>
                <a:lnTo>
                  <a:pt x="918" y="318"/>
                </a:lnTo>
                <a:lnTo>
                  <a:pt x="924" y="324"/>
                </a:lnTo>
                <a:lnTo>
                  <a:pt x="924" y="318"/>
                </a:lnTo>
                <a:lnTo>
                  <a:pt x="930" y="318"/>
                </a:lnTo>
                <a:lnTo>
                  <a:pt x="930" y="324"/>
                </a:lnTo>
                <a:lnTo>
                  <a:pt x="936" y="324"/>
                </a:lnTo>
                <a:lnTo>
                  <a:pt x="936" y="330"/>
                </a:lnTo>
                <a:lnTo>
                  <a:pt x="936" y="336"/>
                </a:lnTo>
                <a:lnTo>
                  <a:pt x="942" y="336"/>
                </a:lnTo>
                <a:lnTo>
                  <a:pt x="942" y="342"/>
                </a:lnTo>
                <a:lnTo>
                  <a:pt x="942" y="348"/>
                </a:lnTo>
                <a:lnTo>
                  <a:pt x="936" y="348"/>
                </a:lnTo>
                <a:lnTo>
                  <a:pt x="942" y="348"/>
                </a:lnTo>
                <a:lnTo>
                  <a:pt x="942" y="354"/>
                </a:lnTo>
                <a:lnTo>
                  <a:pt x="942" y="360"/>
                </a:lnTo>
                <a:lnTo>
                  <a:pt x="942" y="354"/>
                </a:lnTo>
                <a:lnTo>
                  <a:pt x="936" y="354"/>
                </a:lnTo>
                <a:lnTo>
                  <a:pt x="942" y="354"/>
                </a:lnTo>
                <a:lnTo>
                  <a:pt x="942" y="360"/>
                </a:lnTo>
                <a:lnTo>
                  <a:pt x="936" y="360"/>
                </a:lnTo>
                <a:lnTo>
                  <a:pt x="936" y="366"/>
                </a:lnTo>
                <a:lnTo>
                  <a:pt x="930" y="366"/>
                </a:lnTo>
                <a:lnTo>
                  <a:pt x="924" y="366"/>
                </a:lnTo>
                <a:lnTo>
                  <a:pt x="924" y="372"/>
                </a:lnTo>
                <a:lnTo>
                  <a:pt x="924" y="378"/>
                </a:lnTo>
                <a:lnTo>
                  <a:pt x="918" y="378"/>
                </a:lnTo>
                <a:lnTo>
                  <a:pt x="912" y="378"/>
                </a:lnTo>
                <a:lnTo>
                  <a:pt x="906" y="384"/>
                </a:lnTo>
                <a:lnTo>
                  <a:pt x="906" y="390"/>
                </a:lnTo>
                <a:lnTo>
                  <a:pt x="900" y="390"/>
                </a:lnTo>
                <a:lnTo>
                  <a:pt x="900" y="396"/>
                </a:lnTo>
                <a:lnTo>
                  <a:pt x="900" y="402"/>
                </a:lnTo>
                <a:lnTo>
                  <a:pt x="900" y="408"/>
                </a:lnTo>
                <a:lnTo>
                  <a:pt x="906" y="408"/>
                </a:lnTo>
                <a:lnTo>
                  <a:pt x="912" y="408"/>
                </a:lnTo>
                <a:lnTo>
                  <a:pt x="912" y="414"/>
                </a:lnTo>
                <a:lnTo>
                  <a:pt x="912" y="420"/>
                </a:lnTo>
                <a:lnTo>
                  <a:pt x="918" y="420"/>
                </a:lnTo>
                <a:lnTo>
                  <a:pt x="912" y="420"/>
                </a:lnTo>
                <a:lnTo>
                  <a:pt x="912" y="426"/>
                </a:lnTo>
                <a:lnTo>
                  <a:pt x="918" y="426"/>
                </a:lnTo>
                <a:lnTo>
                  <a:pt x="918" y="432"/>
                </a:lnTo>
                <a:lnTo>
                  <a:pt x="918" y="438"/>
                </a:lnTo>
                <a:lnTo>
                  <a:pt x="918" y="444"/>
                </a:lnTo>
                <a:lnTo>
                  <a:pt x="918" y="450"/>
                </a:lnTo>
                <a:lnTo>
                  <a:pt x="924" y="450"/>
                </a:lnTo>
                <a:lnTo>
                  <a:pt x="924" y="456"/>
                </a:lnTo>
                <a:lnTo>
                  <a:pt x="918" y="456"/>
                </a:lnTo>
                <a:lnTo>
                  <a:pt x="918" y="462"/>
                </a:lnTo>
                <a:lnTo>
                  <a:pt x="918" y="468"/>
                </a:lnTo>
                <a:lnTo>
                  <a:pt x="918" y="474"/>
                </a:lnTo>
                <a:lnTo>
                  <a:pt x="918" y="468"/>
                </a:lnTo>
                <a:lnTo>
                  <a:pt x="924" y="468"/>
                </a:lnTo>
                <a:lnTo>
                  <a:pt x="924" y="474"/>
                </a:lnTo>
                <a:lnTo>
                  <a:pt x="918" y="474"/>
                </a:lnTo>
                <a:lnTo>
                  <a:pt x="918" y="480"/>
                </a:lnTo>
                <a:lnTo>
                  <a:pt x="924" y="480"/>
                </a:lnTo>
                <a:lnTo>
                  <a:pt x="924" y="486"/>
                </a:lnTo>
                <a:lnTo>
                  <a:pt x="924" y="492"/>
                </a:lnTo>
                <a:lnTo>
                  <a:pt x="924" y="498"/>
                </a:lnTo>
                <a:lnTo>
                  <a:pt x="924" y="504"/>
                </a:lnTo>
                <a:lnTo>
                  <a:pt x="930" y="504"/>
                </a:lnTo>
                <a:lnTo>
                  <a:pt x="930" y="510"/>
                </a:lnTo>
                <a:lnTo>
                  <a:pt x="930" y="516"/>
                </a:lnTo>
                <a:lnTo>
                  <a:pt x="936" y="516"/>
                </a:lnTo>
                <a:lnTo>
                  <a:pt x="942" y="516"/>
                </a:lnTo>
                <a:lnTo>
                  <a:pt x="942" y="522"/>
                </a:lnTo>
                <a:lnTo>
                  <a:pt x="942" y="528"/>
                </a:lnTo>
                <a:lnTo>
                  <a:pt x="942" y="534"/>
                </a:lnTo>
                <a:lnTo>
                  <a:pt x="948" y="534"/>
                </a:lnTo>
                <a:lnTo>
                  <a:pt x="948" y="540"/>
                </a:lnTo>
                <a:lnTo>
                  <a:pt x="942" y="540"/>
                </a:lnTo>
                <a:lnTo>
                  <a:pt x="942" y="546"/>
                </a:lnTo>
                <a:lnTo>
                  <a:pt x="942" y="552"/>
                </a:lnTo>
                <a:lnTo>
                  <a:pt x="948" y="552"/>
                </a:lnTo>
                <a:lnTo>
                  <a:pt x="954" y="552"/>
                </a:lnTo>
                <a:lnTo>
                  <a:pt x="954" y="558"/>
                </a:lnTo>
                <a:lnTo>
                  <a:pt x="954" y="552"/>
                </a:lnTo>
                <a:lnTo>
                  <a:pt x="960" y="552"/>
                </a:lnTo>
                <a:lnTo>
                  <a:pt x="966" y="552"/>
                </a:lnTo>
                <a:lnTo>
                  <a:pt x="972" y="552"/>
                </a:lnTo>
                <a:lnTo>
                  <a:pt x="972" y="558"/>
                </a:lnTo>
                <a:lnTo>
                  <a:pt x="978" y="564"/>
                </a:lnTo>
                <a:lnTo>
                  <a:pt x="972" y="564"/>
                </a:lnTo>
                <a:lnTo>
                  <a:pt x="972" y="570"/>
                </a:lnTo>
                <a:lnTo>
                  <a:pt x="978" y="570"/>
                </a:lnTo>
                <a:lnTo>
                  <a:pt x="972" y="570"/>
                </a:lnTo>
                <a:lnTo>
                  <a:pt x="978" y="570"/>
                </a:lnTo>
                <a:lnTo>
                  <a:pt x="978" y="576"/>
                </a:lnTo>
                <a:lnTo>
                  <a:pt x="984" y="576"/>
                </a:lnTo>
                <a:lnTo>
                  <a:pt x="984" y="582"/>
                </a:lnTo>
                <a:lnTo>
                  <a:pt x="990" y="582"/>
                </a:lnTo>
                <a:lnTo>
                  <a:pt x="1002" y="582"/>
                </a:lnTo>
                <a:lnTo>
                  <a:pt x="1002" y="588"/>
                </a:lnTo>
                <a:lnTo>
                  <a:pt x="1008" y="594"/>
                </a:lnTo>
                <a:lnTo>
                  <a:pt x="1002" y="600"/>
                </a:lnTo>
                <a:lnTo>
                  <a:pt x="996" y="606"/>
                </a:lnTo>
                <a:lnTo>
                  <a:pt x="1002" y="612"/>
                </a:lnTo>
                <a:lnTo>
                  <a:pt x="1014" y="618"/>
                </a:lnTo>
                <a:lnTo>
                  <a:pt x="1020" y="618"/>
                </a:lnTo>
                <a:lnTo>
                  <a:pt x="1014" y="624"/>
                </a:lnTo>
                <a:lnTo>
                  <a:pt x="1020" y="630"/>
                </a:lnTo>
                <a:lnTo>
                  <a:pt x="1026" y="630"/>
                </a:lnTo>
                <a:lnTo>
                  <a:pt x="1026" y="636"/>
                </a:lnTo>
                <a:lnTo>
                  <a:pt x="1032" y="642"/>
                </a:lnTo>
                <a:lnTo>
                  <a:pt x="1026" y="648"/>
                </a:lnTo>
                <a:lnTo>
                  <a:pt x="1020" y="654"/>
                </a:lnTo>
                <a:lnTo>
                  <a:pt x="1026" y="654"/>
                </a:lnTo>
                <a:lnTo>
                  <a:pt x="1026" y="660"/>
                </a:lnTo>
                <a:lnTo>
                  <a:pt x="1026" y="666"/>
                </a:lnTo>
                <a:lnTo>
                  <a:pt x="1026" y="672"/>
                </a:lnTo>
                <a:lnTo>
                  <a:pt x="1020" y="672"/>
                </a:lnTo>
                <a:lnTo>
                  <a:pt x="1020" y="678"/>
                </a:lnTo>
                <a:lnTo>
                  <a:pt x="1020" y="684"/>
                </a:lnTo>
                <a:lnTo>
                  <a:pt x="1020" y="690"/>
                </a:lnTo>
                <a:lnTo>
                  <a:pt x="1020" y="696"/>
                </a:lnTo>
                <a:lnTo>
                  <a:pt x="1014" y="696"/>
                </a:lnTo>
                <a:lnTo>
                  <a:pt x="1014" y="708"/>
                </a:lnTo>
                <a:lnTo>
                  <a:pt x="1014" y="714"/>
                </a:lnTo>
                <a:lnTo>
                  <a:pt x="1020" y="720"/>
                </a:lnTo>
                <a:lnTo>
                  <a:pt x="1020" y="726"/>
                </a:lnTo>
                <a:lnTo>
                  <a:pt x="1020" y="732"/>
                </a:lnTo>
                <a:lnTo>
                  <a:pt x="1026" y="732"/>
                </a:lnTo>
                <a:lnTo>
                  <a:pt x="1032" y="732"/>
                </a:lnTo>
                <a:lnTo>
                  <a:pt x="1038" y="732"/>
                </a:lnTo>
                <a:lnTo>
                  <a:pt x="1050" y="732"/>
                </a:lnTo>
                <a:lnTo>
                  <a:pt x="1050" y="738"/>
                </a:lnTo>
                <a:lnTo>
                  <a:pt x="1056" y="744"/>
                </a:lnTo>
                <a:lnTo>
                  <a:pt x="1068" y="756"/>
                </a:lnTo>
                <a:lnTo>
                  <a:pt x="1068" y="768"/>
                </a:lnTo>
                <a:lnTo>
                  <a:pt x="1074" y="768"/>
                </a:lnTo>
                <a:lnTo>
                  <a:pt x="1074" y="774"/>
                </a:lnTo>
                <a:lnTo>
                  <a:pt x="1080" y="774"/>
                </a:lnTo>
                <a:lnTo>
                  <a:pt x="1080" y="780"/>
                </a:lnTo>
                <a:lnTo>
                  <a:pt x="1074" y="780"/>
                </a:lnTo>
                <a:lnTo>
                  <a:pt x="1080" y="786"/>
                </a:lnTo>
                <a:lnTo>
                  <a:pt x="1086" y="786"/>
                </a:lnTo>
                <a:lnTo>
                  <a:pt x="1092" y="792"/>
                </a:lnTo>
                <a:lnTo>
                  <a:pt x="1098" y="792"/>
                </a:lnTo>
                <a:lnTo>
                  <a:pt x="1104" y="798"/>
                </a:lnTo>
                <a:lnTo>
                  <a:pt x="1110" y="798"/>
                </a:lnTo>
                <a:lnTo>
                  <a:pt x="1116" y="798"/>
                </a:lnTo>
                <a:lnTo>
                  <a:pt x="1116" y="804"/>
                </a:lnTo>
                <a:lnTo>
                  <a:pt x="1122" y="804"/>
                </a:lnTo>
                <a:lnTo>
                  <a:pt x="1122" y="810"/>
                </a:lnTo>
                <a:lnTo>
                  <a:pt x="1128" y="810"/>
                </a:lnTo>
                <a:lnTo>
                  <a:pt x="1128" y="816"/>
                </a:lnTo>
                <a:lnTo>
                  <a:pt x="1134" y="816"/>
                </a:lnTo>
                <a:lnTo>
                  <a:pt x="1140" y="816"/>
                </a:lnTo>
                <a:lnTo>
                  <a:pt x="1146" y="816"/>
                </a:lnTo>
                <a:lnTo>
                  <a:pt x="1152" y="822"/>
                </a:lnTo>
                <a:lnTo>
                  <a:pt x="1152" y="834"/>
                </a:lnTo>
                <a:lnTo>
                  <a:pt x="1152" y="840"/>
                </a:lnTo>
                <a:lnTo>
                  <a:pt x="1146" y="834"/>
                </a:lnTo>
                <a:lnTo>
                  <a:pt x="1146" y="840"/>
                </a:lnTo>
                <a:lnTo>
                  <a:pt x="1146" y="846"/>
                </a:lnTo>
                <a:lnTo>
                  <a:pt x="1152" y="852"/>
                </a:lnTo>
                <a:lnTo>
                  <a:pt x="1152" y="858"/>
                </a:lnTo>
                <a:lnTo>
                  <a:pt x="1158" y="864"/>
                </a:lnTo>
                <a:lnTo>
                  <a:pt x="1164" y="876"/>
                </a:lnTo>
                <a:lnTo>
                  <a:pt x="1170" y="876"/>
                </a:lnTo>
                <a:lnTo>
                  <a:pt x="1176" y="882"/>
                </a:lnTo>
                <a:lnTo>
                  <a:pt x="1176" y="876"/>
                </a:lnTo>
                <a:lnTo>
                  <a:pt x="1182" y="882"/>
                </a:lnTo>
                <a:lnTo>
                  <a:pt x="1182" y="888"/>
                </a:lnTo>
                <a:lnTo>
                  <a:pt x="1188" y="894"/>
                </a:lnTo>
                <a:lnTo>
                  <a:pt x="1188" y="900"/>
                </a:lnTo>
                <a:lnTo>
                  <a:pt x="1188" y="906"/>
                </a:lnTo>
                <a:lnTo>
                  <a:pt x="1194" y="906"/>
                </a:lnTo>
                <a:lnTo>
                  <a:pt x="1194" y="912"/>
                </a:lnTo>
                <a:lnTo>
                  <a:pt x="1194" y="918"/>
                </a:lnTo>
                <a:lnTo>
                  <a:pt x="1200" y="924"/>
                </a:lnTo>
                <a:lnTo>
                  <a:pt x="1194" y="924"/>
                </a:lnTo>
                <a:lnTo>
                  <a:pt x="1194" y="930"/>
                </a:lnTo>
                <a:lnTo>
                  <a:pt x="1200" y="930"/>
                </a:lnTo>
                <a:lnTo>
                  <a:pt x="1206" y="930"/>
                </a:lnTo>
                <a:lnTo>
                  <a:pt x="1212" y="936"/>
                </a:lnTo>
                <a:lnTo>
                  <a:pt x="1218" y="942"/>
                </a:lnTo>
                <a:lnTo>
                  <a:pt x="1224" y="954"/>
                </a:lnTo>
                <a:lnTo>
                  <a:pt x="1230" y="966"/>
                </a:lnTo>
                <a:lnTo>
                  <a:pt x="1236" y="972"/>
                </a:lnTo>
                <a:lnTo>
                  <a:pt x="1242" y="972"/>
                </a:lnTo>
                <a:lnTo>
                  <a:pt x="1248" y="984"/>
                </a:lnTo>
                <a:lnTo>
                  <a:pt x="1272" y="996"/>
                </a:lnTo>
                <a:lnTo>
                  <a:pt x="1278" y="1002"/>
                </a:lnTo>
                <a:lnTo>
                  <a:pt x="1278" y="1008"/>
                </a:lnTo>
                <a:lnTo>
                  <a:pt x="1290" y="1002"/>
                </a:lnTo>
                <a:lnTo>
                  <a:pt x="1302" y="1008"/>
                </a:lnTo>
                <a:lnTo>
                  <a:pt x="1308" y="1014"/>
                </a:lnTo>
                <a:lnTo>
                  <a:pt x="1314" y="1014"/>
                </a:lnTo>
                <a:lnTo>
                  <a:pt x="1320" y="1014"/>
                </a:lnTo>
                <a:lnTo>
                  <a:pt x="1326" y="1014"/>
                </a:lnTo>
                <a:lnTo>
                  <a:pt x="1326" y="1020"/>
                </a:lnTo>
                <a:lnTo>
                  <a:pt x="1326" y="1026"/>
                </a:lnTo>
                <a:lnTo>
                  <a:pt x="1314" y="1038"/>
                </a:lnTo>
                <a:lnTo>
                  <a:pt x="1308" y="1044"/>
                </a:lnTo>
                <a:lnTo>
                  <a:pt x="1284" y="1050"/>
                </a:lnTo>
                <a:lnTo>
                  <a:pt x="1278" y="1050"/>
                </a:lnTo>
                <a:lnTo>
                  <a:pt x="1260" y="1056"/>
                </a:lnTo>
                <a:lnTo>
                  <a:pt x="1260" y="1062"/>
                </a:lnTo>
                <a:lnTo>
                  <a:pt x="1254" y="1062"/>
                </a:lnTo>
                <a:lnTo>
                  <a:pt x="1254" y="1074"/>
                </a:lnTo>
                <a:lnTo>
                  <a:pt x="1254" y="1080"/>
                </a:lnTo>
                <a:lnTo>
                  <a:pt x="1254" y="1086"/>
                </a:lnTo>
                <a:lnTo>
                  <a:pt x="1254" y="1092"/>
                </a:lnTo>
                <a:lnTo>
                  <a:pt x="1260" y="1098"/>
                </a:lnTo>
                <a:lnTo>
                  <a:pt x="1266" y="1104"/>
                </a:lnTo>
                <a:lnTo>
                  <a:pt x="1272" y="1104"/>
                </a:lnTo>
                <a:lnTo>
                  <a:pt x="1278" y="1098"/>
                </a:lnTo>
                <a:lnTo>
                  <a:pt x="1284" y="1098"/>
                </a:lnTo>
                <a:lnTo>
                  <a:pt x="1284" y="1104"/>
                </a:lnTo>
                <a:lnTo>
                  <a:pt x="1290" y="1104"/>
                </a:lnTo>
                <a:lnTo>
                  <a:pt x="1284" y="1110"/>
                </a:lnTo>
                <a:lnTo>
                  <a:pt x="1284" y="1116"/>
                </a:lnTo>
                <a:lnTo>
                  <a:pt x="1290" y="1116"/>
                </a:lnTo>
                <a:lnTo>
                  <a:pt x="1290" y="1122"/>
                </a:lnTo>
                <a:lnTo>
                  <a:pt x="1290" y="1128"/>
                </a:lnTo>
                <a:lnTo>
                  <a:pt x="1290" y="1134"/>
                </a:lnTo>
                <a:lnTo>
                  <a:pt x="1296" y="1134"/>
                </a:lnTo>
                <a:lnTo>
                  <a:pt x="1302" y="1140"/>
                </a:lnTo>
                <a:lnTo>
                  <a:pt x="1314" y="1134"/>
                </a:lnTo>
                <a:lnTo>
                  <a:pt x="1320" y="1134"/>
                </a:lnTo>
                <a:lnTo>
                  <a:pt x="1320" y="1140"/>
                </a:lnTo>
                <a:lnTo>
                  <a:pt x="1320" y="1146"/>
                </a:lnTo>
                <a:lnTo>
                  <a:pt x="1320" y="1152"/>
                </a:lnTo>
                <a:lnTo>
                  <a:pt x="1320" y="1158"/>
                </a:lnTo>
                <a:lnTo>
                  <a:pt x="1320" y="1164"/>
                </a:lnTo>
                <a:lnTo>
                  <a:pt x="1326" y="1164"/>
                </a:lnTo>
                <a:lnTo>
                  <a:pt x="1326" y="1170"/>
                </a:lnTo>
                <a:lnTo>
                  <a:pt x="1332" y="1170"/>
                </a:lnTo>
                <a:lnTo>
                  <a:pt x="1332" y="1176"/>
                </a:lnTo>
                <a:lnTo>
                  <a:pt x="1338" y="1176"/>
                </a:lnTo>
                <a:lnTo>
                  <a:pt x="1338" y="1182"/>
                </a:lnTo>
                <a:lnTo>
                  <a:pt x="1338" y="1188"/>
                </a:lnTo>
                <a:lnTo>
                  <a:pt x="1338" y="1194"/>
                </a:lnTo>
                <a:lnTo>
                  <a:pt x="1344" y="1206"/>
                </a:lnTo>
                <a:lnTo>
                  <a:pt x="1344" y="1212"/>
                </a:lnTo>
                <a:lnTo>
                  <a:pt x="1344" y="1224"/>
                </a:lnTo>
                <a:lnTo>
                  <a:pt x="1350" y="1242"/>
                </a:lnTo>
                <a:lnTo>
                  <a:pt x="1350" y="1254"/>
                </a:lnTo>
                <a:lnTo>
                  <a:pt x="1350" y="1260"/>
                </a:lnTo>
                <a:lnTo>
                  <a:pt x="1350" y="1266"/>
                </a:lnTo>
                <a:lnTo>
                  <a:pt x="1350" y="1272"/>
                </a:lnTo>
                <a:lnTo>
                  <a:pt x="1350" y="1278"/>
                </a:lnTo>
                <a:lnTo>
                  <a:pt x="1350" y="1290"/>
                </a:lnTo>
                <a:lnTo>
                  <a:pt x="1350" y="1302"/>
                </a:lnTo>
                <a:lnTo>
                  <a:pt x="1344" y="1320"/>
                </a:lnTo>
                <a:lnTo>
                  <a:pt x="1338" y="1338"/>
                </a:lnTo>
                <a:lnTo>
                  <a:pt x="1332" y="1356"/>
                </a:lnTo>
                <a:lnTo>
                  <a:pt x="1326" y="1362"/>
                </a:lnTo>
                <a:lnTo>
                  <a:pt x="1326" y="1374"/>
                </a:lnTo>
                <a:lnTo>
                  <a:pt x="1314" y="1380"/>
                </a:lnTo>
                <a:lnTo>
                  <a:pt x="1308" y="1380"/>
                </a:lnTo>
                <a:lnTo>
                  <a:pt x="1308" y="1386"/>
                </a:lnTo>
                <a:lnTo>
                  <a:pt x="1302" y="1386"/>
                </a:lnTo>
                <a:lnTo>
                  <a:pt x="1296" y="1386"/>
                </a:lnTo>
                <a:lnTo>
                  <a:pt x="1290" y="1386"/>
                </a:lnTo>
                <a:lnTo>
                  <a:pt x="1284" y="1392"/>
                </a:lnTo>
                <a:lnTo>
                  <a:pt x="1278" y="1392"/>
                </a:lnTo>
                <a:lnTo>
                  <a:pt x="1272" y="1392"/>
                </a:lnTo>
                <a:lnTo>
                  <a:pt x="1266" y="1392"/>
                </a:lnTo>
                <a:lnTo>
                  <a:pt x="1254" y="1398"/>
                </a:lnTo>
                <a:lnTo>
                  <a:pt x="1236" y="1398"/>
                </a:lnTo>
                <a:lnTo>
                  <a:pt x="1230" y="1404"/>
                </a:lnTo>
                <a:lnTo>
                  <a:pt x="1224" y="1404"/>
                </a:lnTo>
                <a:lnTo>
                  <a:pt x="1218" y="1410"/>
                </a:lnTo>
                <a:lnTo>
                  <a:pt x="1212" y="1410"/>
                </a:lnTo>
                <a:lnTo>
                  <a:pt x="1212" y="1416"/>
                </a:lnTo>
                <a:lnTo>
                  <a:pt x="1206" y="1416"/>
                </a:lnTo>
                <a:lnTo>
                  <a:pt x="1200" y="1416"/>
                </a:lnTo>
                <a:lnTo>
                  <a:pt x="1200" y="1422"/>
                </a:lnTo>
                <a:lnTo>
                  <a:pt x="1194" y="1422"/>
                </a:lnTo>
                <a:lnTo>
                  <a:pt x="1194" y="1428"/>
                </a:lnTo>
                <a:lnTo>
                  <a:pt x="1188" y="1428"/>
                </a:lnTo>
                <a:lnTo>
                  <a:pt x="1182" y="1440"/>
                </a:lnTo>
                <a:lnTo>
                  <a:pt x="1182" y="1446"/>
                </a:lnTo>
                <a:lnTo>
                  <a:pt x="1182" y="1452"/>
                </a:lnTo>
                <a:lnTo>
                  <a:pt x="1182" y="1458"/>
                </a:lnTo>
                <a:lnTo>
                  <a:pt x="1182" y="1464"/>
                </a:lnTo>
                <a:lnTo>
                  <a:pt x="1182" y="1470"/>
                </a:lnTo>
                <a:lnTo>
                  <a:pt x="1176" y="1470"/>
                </a:lnTo>
                <a:lnTo>
                  <a:pt x="1176" y="1476"/>
                </a:lnTo>
                <a:lnTo>
                  <a:pt x="1170" y="1476"/>
                </a:lnTo>
                <a:lnTo>
                  <a:pt x="1164" y="1482"/>
                </a:lnTo>
                <a:lnTo>
                  <a:pt x="1158" y="1494"/>
                </a:lnTo>
                <a:lnTo>
                  <a:pt x="1152" y="1506"/>
                </a:lnTo>
                <a:lnTo>
                  <a:pt x="1146" y="1518"/>
                </a:lnTo>
                <a:lnTo>
                  <a:pt x="1140" y="1524"/>
                </a:lnTo>
                <a:lnTo>
                  <a:pt x="1140" y="1530"/>
                </a:lnTo>
                <a:lnTo>
                  <a:pt x="1128" y="1548"/>
                </a:lnTo>
                <a:lnTo>
                  <a:pt x="1122" y="1554"/>
                </a:lnTo>
                <a:lnTo>
                  <a:pt x="1122" y="1548"/>
                </a:lnTo>
                <a:lnTo>
                  <a:pt x="1122" y="1542"/>
                </a:lnTo>
                <a:lnTo>
                  <a:pt x="1116" y="1542"/>
                </a:lnTo>
                <a:lnTo>
                  <a:pt x="1110" y="1542"/>
                </a:lnTo>
                <a:lnTo>
                  <a:pt x="1104" y="1542"/>
                </a:lnTo>
                <a:lnTo>
                  <a:pt x="1104" y="1536"/>
                </a:lnTo>
                <a:lnTo>
                  <a:pt x="1104" y="1530"/>
                </a:lnTo>
                <a:lnTo>
                  <a:pt x="1098" y="1530"/>
                </a:lnTo>
                <a:lnTo>
                  <a:pt x="1098" y="1524"/>
                </a:lnTo>
                <a:lnTo>
                  <a:pt x="1098" y="1518"/>
                </a:lnTo>
                <a:lnTo>
                  <a:pt x="1092" y="1518"/>
                </a:lnTo>
                <a:lnTo>
                  <a:pt x="1092" y="1512"/>
                </a:lnTo>
                <a:lnTo>
                  <a:pt x="1086" y="1518"/>
                </a:lnTo>
                <a:lnTo>
                  <a:pt x="1080" y="1524"/>
                </a:lnTo>
                <a:lnTo>
                  <a:pt x="1074" y="1518"/>
                </a:lnTo>
                <a:lnTo>
                  <a:pt x="1068" y="1518"/>
                </a:lnTo>
                <a:lnTo>
                  <a:pt x="1062" y="1518"/>
                </a:lnTo>
                <a:lnTo>
                  <a:pt x="1056" y="1518"/>
                </a:lnTo>
                <a:lnTo>
                  <a:pt x="1050" y="1518"/>
                </a:lnTo>
                <a:lnTo>
                  <a:pt x="1044" y="1518"/>
                </a:lnTo>
                <a:lnTo>
                  <a:pt x="1044" y="1512"/>
                </a:lnTo>
                <a:lnTo>
                  <a:pt x="1050" y="1512"/>
                </a:lnTo>
                <a:lnTo>
                  <a:pt x="1050" y="1506"/>
                </a:lnTo>
                <a:lnTo>
                  <a:pt x="1050" y="1500"/>
                </a:lnTo>
                <a:lnTo>
                  <a:pt x="1050" y="1494"/>
                </a:lnTo>
                <a:lnTo>
                  <a:pt x="1056" y="1488"/>
                </a:lnTo>
                <a:lnTo>
                  <a:pt x="1050" y="1488"/>
                </a:lnTo>
                <a:lnTo>
                  <a:pt x="1050" y="1482"/>
                </a:lnTo>
                <a:lnTo>
                  <a:pt x="1044" y="1482"/>
                </a:lnTo>
                <a:lnTo>
                  <a:pt x="1038" y="1482"/>
                </a:lnTo>
                <a:lnTo>
                  <a:pt x="1038" y="1476"/>
                </a:lnTo>
                <a:lnTo>
                  <a:pt x="1032" y="1476"/>
                </a:lnTo>
                <a:lnTo>
                  <a:pt x="1026" y="1476"/>
                </a:lnTo>
                <a:lnTo>
                  <a:pt x="1020" y="1476"/>
                </a:lnTo>
                <a:lnTo>
                  <a:pt x="1020" y="1470"/>
                </a:lnTo>
                <a:lnTo>
                  <a:pt x="1020" y="1464"/>
                </a:lnTo>
                <a:lnTo>
                  <a:pt x="1020" y="1458"/>
                </a:lnTo>
                <a:lnTo>
                  <a:pt x="1014" y="1458"/>
                </a:lnTo>
                <a:lnTo>
                  <a:pt x="1014" y="1452"/>
                </a:lnTo>
                <a:lnTo>
                  <a:pt x="1014" y="1446"/>
                </a:lnTo>
                <a:lnTo>
                  <a:pt x="1020" y="1446"/>
                </a:lnTo>
                <a:lnTo>
                  <a:pt x="1014" y="1446"/>
                </a:lnTo>
                <a:lnTo>
                  <a:pt x="1008" y="1440"/>
                </a:lnTo>
                <a:lnTo>
                  <a:pt x="1008" y="1446"/>
                </a:lnTo>
                <a:lnTo>
                  <a:pt x="1002" y="1446"/>
                </a:lnTo>
                <a:lnTo>
                  <a:pt x="1002" y="1452"/>
                </a:lnTo>
                <a:lnTo>
                  <a:pt x="996" y="1452"/>
                </a:lnTo>
                <a:lnTo>
                  <a:pt x="990" y="1458"/>
                </a:lnTo>
                <a:lnTo>
                  <a:pt x="984" y="1464"/>
                </a:lnTo>
                <a:lnTo>
                  <a:pt x="984" y="1470"/>
                </a:lnTo>
                <a:lnTo>
                  <a:pt x="978" y="1470"/>
                </a:lnTo>
                <a:lnTo>
                  <a:pt x="978" y="1476"/>
                </a:lnTo>
                <a:lnTo>
                  <a:pt x="972" y="1476"/>
                </a:lnTo>
                <a:lnTo>
                  <a:pt x="966" y="1482"/>
                </a:lnTo>
                <a:lnTo>
                  <a:pt x="966" y="1488"/>
                </a:lnTo>
                <a:lnTo>
                  <a:pt x="960" y="1488"/>
                </a:lnTo>
                <a:lnTo>
                  <a:pt x="954" y="1488"/>
                </a:lnTo>
                <a:lnTo>
                  <a:pt x="948" y="1488"/>
                </a:lnTo>
                <a:lnTo>
                  <a:pt x="948" y="1482"/>
                </a:lnTo>
                <a:lnTo>
                  <a:pt x="942" y="1482"/>
                </a:lnTo>
                <a:lnTo>
                  <a:pt x="942" y="1476"/>
                </a:lnTo>
                <a:lnTo>
                  <a:pt x="936" y="1476"/>
                </a:lnTo>
                <a:lnTo>
                  <a:pt x="930" y="1476"/>
                </a:lnTo>
                <a:lnTo>
                  <a:pt x="930" y="1470"/>
                </a:lnTo>
                <a:lnTo>
                  <a:pt x="924" y="1470"/>
                </a:lnTo>
                <a:lnTo>
                  <a:pt x="918" y="1470"/>
                </a:lnTo>
                <a:lnTo>
                  <a:pt x="918" y="1476"/>
                </a:lnTo>
                <a:lnTo>
                  <a:pt x="912" y="1482"/>
                </a:lnTo>
                <a:lnTo>
                  <a:pt x="912" y="1494"/>
                </a:lnTo>
                <a:lnTo>
                  <a:pt x="906" y="1494"/>
                </a:lnTo>
                <a:lnTo>
                  <a:pt x="906" y="1500"/>
                </a:lnTo>
                <a:lnTo>
                  <a:pt x="900" y="1506"/>
                </a:lnTo>
                <a:lnTo>
                  <a:pt x="900" y="1512"/>
                </a:lnTo>
                <a:lnTo>
                  <a:pt x="894" y="1512"/>
                </a:lnTo>
                <a:lnTo>
                  <a:pt x="894" y="1518"/>
                </a:lnTo>
                <a:lnTo>
                  <a:pt x="888" y="1524"/>
                </a:lnTo>
                <a:lnTo>
                  <a:pt x="882" y="1524"/>
                </a:lnTo>
                <a:lnTo>
                  <a:pt x="882" y="1530"/>
                </a:lnTo>
                <a:lnTo>
                  <a:pt x="882" y="1536"/>
                </a:lnTo>
                <a:lnTo>
                  <a:pt x="876" y="1536"/>
                </a:lnTo>
                <a:lnTo>
                  <a:pt x="876" y="1542"/>
                </a:lnTo>
                <a:lnTo>
                  <a:pt x="876" y="1548"/>
                </a:lnTo>
                <a:lnTo>
                  <a:pt x="870" y="1554"/>
                </a:lnTo>
                <a:lnTo>
                  <a:pt x="870" y="1560"/>
                </a:lnTo>
                <a:lnTo>
                  <a:pt x="864" y="1560"/>
                </a:lnTo>
                <a:lnTo>
                  <a:pt x="864" y="1566"/>
                </a:lnTo>
                <a:lnTo>
                  <a:pt x="858" y="1566"/>
                </a:lnTo>
                <a:lnTo>
                  <a:pt x="852" y="1566"/>
                </a:lnTo>
                <a:lnTo>
                  <a:pt x="846" y="1566"/>
                </a:lnTo>
                <a:lnTo>
                  <a:pt x="840" y="1566"/>
                </a:lnTo>
                <a:lnTo>
                  <a:pt x="834" y="1566"/>
                </a:lnTo>
                <a:lnTo>
                  <a:pt x="828" y="1566"/>
                </a:lnTo>
                <a:lnTo>
                  <a:pt x="828" y="1572"/>
                </a:lnTo>
                <a:lnTo>
                  <a:pt x="822" y="1572"/>
                </a:lnTo>
                <a:lnTo>
                  <a:pt x="816" y="1572"/>
                </a:lnTo>
                <a:lnTo>
                  <a:pt x="810" y="1566"/>
                </a:lnTo>
                <a:lnTo>
                  <a:pt x="810" y="1572"/>
                </a:lnTo>
                <a:lnTo>
                  <a:pt x="804" y="1572"/>
                </a:lnTo>
                <a:lnTo>
                  <a:pt x="804" y="1566"/>
                </a:lnTo>
                <a:lnTo>
                  <a:pt x="798" y="1566"/>
                </a:lnTo>
                <a:lnTo>
                  <a:pt x="792" y="1566"/>
                </a:lnTo>
                <a:lnTo>
                  <a:pt x="786" y="1572"/>
                </a:lnTo>
                <a:lnTo>
                  <a:pt x="780" y="1572"/>
                </a:lnTo>
                <a:lnTo>
                  <a:pt x="780" y="1578"/>
                </a:lnTo>
                <a:lnTo>
                  <a:pt x="774" y="1578"/>
                </a:lnTo>
                <a:lnTo>
                  <a:pt x="768" y="1572"/>
                </a:lnTo>
                <a:lnTo>
                  <a:pt x="762" y="1572"/>
                </a:lnTo>
                <a:lnTo>
                  <a:pt x="756" y="1572"/>
                </a:lnTo>
                <a:lnTo>
                  <a:pt x="750" y="1572"/>
                </a:lnTo>
                <a:lnTo>
                  <a:pt x="744" y="1572"/>
                </a:lnTo>
                <a:lnTo>
                  <a:pt x="744" y="1578"/>
                </a:lnTo>
                <a:lnTo>
                  <a:pt x="738" y="1578"/>
                </a:lnTo>
                <a:lnTo>
                  <a:pt x="732" y="1578"/>
                </a:lnTo>
                <a:lnTo>
                  <a:pt x="726" y="1578"/>
                </a:lnTo>
                <a:lnTo>
                  <a:pt x="720" y="1578"/>
                </a:lnTo>
                <a:lnTo>
                  <a:pt x="720" y="1584"/>
                </a:lnTo>
                <a:lnTo>
                  <a:pt x="714" y="1584"/>
                </a:lnTo>
                <a:lnTo>
                  <a:pt x="714" y="1590"/>
                </a:lnTo>
                <a:lnTo>
                  <a:pt x="708" y="1590"/>
                </a:lnTo>
                <a:lnTo>
                  <a:pt x="702" y="1590"/>
                </a:lnTo>
                <a:lnTo>
                  <a:pt x="696" y="1590"/>
                </a:lnTo>
                <a:lnTo>
                  <a:pt x="690" y="1590"/>
                </a:lnTo>
                <a:lnTo>
                  <a:pt x="684" y="1590"/>
                </a:lnTo>
                <a:lnTo>
                  <a:pt x="690" y="1590"/>
                </a:lnTo>
                <a:lnTo>
                  <a:pt x="690" y="1584"/>
                </a:lnTo>
                <a:lnTo>
                  <a:pt x="684" y="1584"/>
                </a:lnTo>
                <a:lnTo>
                  <a:pt x="684" y="1590"/>
                </a:lnTo>
                <a:lnTo>
                  <a:pt x="678" y="1590"/>
                </a:lnTo>
                <a:lnTo>
                  <a:pt x="678" y="1584"/>
                </a:lnTo>
                <a:lnTo>
                  <a:pt x="672" y="1584"/>
                </a:lnTo>
                <a:lnTo>
                  <a:pt x="672" y="1590"/>
                </a:lnTo>
                <a:lnTo>
                  <a:pt x="666" y="1590"/>
                </a:lnTo>
                <a:lnTo>
                  <a:pt x="666" y="1584"/>
                </a:lnTo>
                <a:lnTo>
                  <a:pt x="660" y="1584"/>
                </a:lnTo>
                <a:lnTo>
                  <a:pt x="654" y="1584"/>
                </a:lnTo>
                <a:lnTo>
                  <a:pt x="654" y="1578"/>
                </a:lnTo>
                <a:lnTo>
                  <a:pt x="654" y="1572"/>
                </a:lnTo>
                <a:lnTo>
                  <a:pt x="654" y="1566"/>
                </a:lnTo>
                <a:lnTo>
                  <a:pt x="660" y="1566"/>
                </a:lnTo>
                <a:lnTo>
                  <a:pt x="660" y="1560"/>
                </a:lnTo>
                <a:lnTo>
                  <a:pt x="666" y="1560"/>
                </a:lnTo>
                <a:lnTo>
                  <a:pt x="672" y="1560"/>
                </a:lnTo>
                <a:lnTo>
                  <a:pt x="678" y="1560"/>
                </a:lnTo>
                <a:lnTo>
                  <a:pt x="678" y="1554"/>
                </a:lnTo>
                <a:lnTo>
                  <a:pt x="684" y="1554"/>
                </a:lnTo>
                <a:lnTo>
                  <a:pt x="690" y="1554"/>
                </a:lnTo>
                <a:lnTo>
                  <a:pt x="690" y="1548"/>
                </a:lnTo>
                <a:lnTo>
                  <a:pt x="690" y="1542"/>
                </a:lnTo>
                <a:lnTo>
                  <a:pt x="684" y="1542"/>
                </a:lnTo>
                <a:lnTo>
                  <a:pt x="678" y="1542"/>
                </a:lnTo>
                <a:lnTo>
                  <a:pt x="678" y="1548"/>
                </a:lnTo>
                <a:lnTo>
                  <a:pt x="672" y="1548"/>
                </a:lnTo>
                <a:lnTo>
                  <a:pt x="672" y="1542"/>
                </a:lnTo>
                <a:lnTo>
                  <a:pt x="666" y="1542"/>
                </a:lnTo>
                <a:lnTo>
                  <a:pt x="660" y="1548"/>
                </a:lnTo>
                <a:lnTo>
                  <a:pt x="654" y="1548"/>
                </a:lnTo>
                <a:lnTo>
                  <a:pt x="654" y="1554"/>
                </a:lnTo>
                <a:lnTo>
                  <a:pt x="648" y="1554"/>
                </a:lnTo>
                <a:lnTo>
                  <a:pt x="642" y="1554"/>
                </a:lnTo>
                <a:lnTo>
                  <a:pt x="642" y="1560"/>
                </a:lnTo>
                <a:lnTo>
                  <a:pt x="636" y="1554"/>
                </a:lnTo>
                <a:lnTo>
                  <a:pt x="630" y="1554"/>
                </a:lnTo>
                <a:lnTo>
                  <a:pt x="624" y="1554"/>
                </a:lnTo>
                <a:lnTo>
                  <a:pt x="618" y="1554"/>
                </a:lnTo>
                <a:lnTo>
                  <a:pt x="612" y="1554"/>
                </a:lnTo>
                <a:lnTo>
                  <a:pt x="612" y="1560"/>
                </a:lnTo>
                <a:lnTo>
                  <a:pt x="606" y="1560"/>
                </a:lnTo>
                <a:lnTo>
                  <a:pt x="600" y="1566"/>
                </a:lnTo>
                <a:lnTo>
                  <a:pt x="594" y="1566"/>
                </a:lnTo>
                <a:lnTo>
                  <a:pt x="594" y="1560"/>
                </a:lnTo>
                <a:lnTo>
                  <a:pt x="588" y="1560"/>
                </a:lnTo>
                <a:lnTo>
                  <a:pt x="582" y="1560"/>
                </a:lnTo>
                <a:lnTo>
                  <a:pt x="576" y="1554"/>
                </a:lnTo>
                <a:lnTo>
                  <a:pt x="570" y="1554"/>
                </a:lnTo>
                <a:lnTo>
                  <a:pt x="570" y="1548"/>
                </a:lnTo>
                <a:lnTo>
                  <a:pt x="570" y="1542"/>
                </a:lnTo>
                <a:lnTo>
                  <a:pt x="570" y="1536"/>
                </a:lnTo>
                <a:lnTo>
                  <a:pt x="564" y="1536"/>
                </a:lnTo>
                <a:lnTo>
                  <a:pt x="558" y="1536"/>
                </a:lnTo>
                <a:lnTo>
                  <a:pt x="558" y="1530"/>
                </a:lnTo>
                <a:lnTo>
                  <a:pt x="552" y="1530"/>
                </a:lnTo>
                <a:lnTo>
                  <a:pt x="546" y="1536"/>
                </a:lnTo>
                <a:lnTo>
                  <a:pt x="540" y="1536"/>
                </a:lnTo>
                <a:lnTo>
                  <a:pt x="540" y="1530"/>
                </a:lnTo>
                <a:lnTo>
                  <a:pt x="540" y="1524"/>
                </a:lnTo>
                <a:lnTo>
                  <a:pt x="540" y="1518"/>
                </a:lnTo>
                <a:lnTo>
                  <a:pt x="540" y="1512"/>
                </a:lnTo>
                <a:lnTo>
                  <a:pt x="546" y="1512"/>
                </a:lnTo>
                <a:lnTo>
                  <a:pt x="552" y="1512"/>
                </a:lnTo>
                <a:lnTo>
                  <a:pt x="558" y="1512"/>
                </a:lnTo>
                <a:lnTo>
                  <a:pt x="558" y="1506"/>
                </a:lnTo>
                <a:lnTo>
                  <a:pt x="564" y="1506"/>
                </a:lnTo>
                <a:lnTo>
                  <a:pt x="564" y="1500"/>
                </a:lnTo>
                <a:lnTo>
                  <a:pt x="564" y="1494"/>
                </a:lnTo>
                <a:lnTo>
                  <a:pt x="558" y="1494"/>
                </a:lnTo>
                <a:lnTo>
                  <a:pt x="558" y="1488"/>
                </a:lnTo>
                <a:lnTo>
                  <a:pt x="564" y="1488"/>
                </a:lnTo>
                <a:lnTo>
                  <a:pt x="558" y="1488"/>
                </a:lnTo>
                <a:lnTo>
                  <a:pt x="558" y="1482"/>
                </a:lnTo>
                <a:lnTo>
                  <a:pt x="552" y="1482"/>
                </a:lnTo>
                <a:lnTo>
                  <a:pt x="552" y="1476"/>
                </a:lnTo>
                <a:lnTo>
                  <a:pt x="558" y="1476"/>
                </a:lnTo>
                <a:lnTo>
                  <a:pt x="564" y="1476"/>
                </a:lnTo>
                <a:lnTo>
                  <a:pt x="570" y="1482"/>
                </a:lnTo>
                <a:lnTo>
                  <a:pt x="576" y="1482"/>
                </a:lnTo>
                <a:lnTo>
                  <a:pt x="582" y="1482"/>
                </a:lnTo>
                <a:lnTo>
                  <a:pt x="582" y="1476"/>
                </a:lnTo>
                <a:lnTo>
                  <a:pt x="582" y="1470"/>
                </a:lnTo>
                <a:lnTo>
                  <a:pt x="588" y="1470"/>
                </a:lnTo>
                <a:lnTo>
                  <a:pt x="588" y="1476"/>
                </a:lnTo>
                <a:lnTo>
                  <a:pt x="594" y="1476"/>
                </a:lnTo>
                <a:lnTo>
                  <a:pt x="588" y="1476"/>
                </a:lnTo>
                <a:lnTo>
                  <a:pt x="594" y="1476"/>
                </a:lnTo>
                <a:lnTo>
                  <a:pt x="594" y="1482"/>
                </a:lnTo>
                <a:lnTo>
                  <a:pt x="600" y="1482"/>
                </a:lnTo>
                <a:lnTo>
                  <a:pt x="606" y="1476"/>
                </a:lnTo>
                <a:lnTo>
                  <a:pt x="606" y="1470"/>
                </a:lnTo>
                <a:lnTo>
                  <a:pt x="612" y="1470"/>
                </a:lnTo>
                <a:lnTo>
                  <a:pt x="606" y="1470"/>
                </a:lnTo>
                <a:lnTo>
                  <a:pt x="606" y="1464"/>
                </a:lnTo>
                <a:lnTo>
                  <a:pt x="612" y="1464"/>
                </a:lnTo>
                <a:lnTo>
                  <a:pt x="612" y="1458"/>
                </a:lnTo>
                <a:lnTo>
                  <a:pt x="618" y="1458"/>
                </a:lnTo>
                <a:lnTo>
                  <a:pt x="618" y="1452"/>
                </a:lnTo>
                <a:lnTo>
                  <a:pt x="612" y="1452"/>
                </a:lnTo>
                <a:lnTo>
                  <a:pt x="606" y="1452"/>
                </a:lnTo>
                <a:lnTo>
                  <a:pt x="600" y="1452"/>
                </a:lnTo>
                <a:lnTo>
                  <a:pt x="600" y="1458"/>
                </a:lnTo>
                <a:lnTo>
                  <a:pt x="594" y="1458"/>
                </a:lnTo>
                <a:lnTo>
                  <a:pt x="588" y="1458"/>
                </a:lnTo>
                <a:lnTo>
                  <a:pt x="582" y="1458"/>
                </a:lnTo>
                <a:lnTo>
                  <a:pt x="576" y="1458"/>
                </a:lnTo>
                <a:lnTo>
                  <a:pt x="582" y="1458"/>
                </a:lnTo>
                <a:lnTo>
                  <a:pt x="582" y="1452"/>
                </a:lnTo>
                <a:lnTo>
                  <a:pt x="588" y="1452"/>
                </a:lnTo>
                <a:lnTo>
                  <a:pt x="594" y="1452"/>
                </a:lnTo>
                <a:lnTo>
                  <a:pt x="600" y="1452"/>
                </a:lnTo>
                <a:lnTo>
                  <a:pt x="600" y="1446"/>
                </a:lnTo>
                <a:lnTo>
                  <a:pt x="606" y="1446"/>
                </a:lnTo>
                <a:lnTo>
                  <a:pt x="606" y="1440"/>
                </a:lnTo>
                <a:lnTo>
                  <a:pt x="612" y="1434"/>
                </a:lnTo>
                <a:lnTo>
                  <a:pt x="606" y="1434"/>
                </a:lnTo>
                <a:lnTo>
                  <a:pt x="606" y="1428"/>
                </a:lnTo>
                <a:lnTo>
                  <a:pt x="606" y="1434"/>
                </a:lnTo>
                <a:lnTo>
                  <a:pt x="600" y="1434"/>
                </a:lnTo>
                <a:lnTo>
                  <a:pt x="594" y="1434"/>
                </a:lnTo>
                <a:lnTo>
                  <a:pt x="594" y="1440"/>
                </a:lnTo>
                <a:lnTo>
                  <a:pt x="588" y="1440"/>
                </a:lnTo>
                <a:lnTo>
                  <a:pt x="588" y="1434"/>
                </a:lnTo>
                <a:lnTo>
                  <a:pt x="582" y="1434"/>
                </a:lnTo>
                <a:lnTo>
                  <a:pt x="588" y="1434"/>
                </a:lnTo>
                <a:lnTo>
                  <a:pt x="588" y="1428"/>
                </a:lnTo>
                <a:lnTo>
                  <a:pt x="582" y="1428"/>
                </a:lnTo>
                <a:lnTo>
                  <a:pt x="588" y="1428"/>
                </a:lnTo>
                <a:lnTo>
                  <a:pt x="588" y="1422"/>
                </a:lnTo>
                <a:lnTo>
                  <a:pt x="582" y="1416"/>
                </a:lnTo>
                <a:lnTo>
                  <a:pt x="576" y="1416"/>
                </a:lnTo>
                <a:lnTo>
                  <a:pt x="576" y="1410"/>
                </a:lnTo>
                <a:lnTo>
                  <a:pt x="576" y="1404"/>
                </a:lnTo>
                <a:lnTo>
                  <a:pt x="582" y="1404"/>
                </a:lnTo>
                <a:lnTo>
                  <a:pt x="588" y="1404"/>
                </a:lnTo>
                <a:lnTo>
                  <a:pt x="582" y="1404"/>
                </a:lnTo>
                <a:lnTo>
                  <a:pt x="582" y="1398"/>
                </a:lnTo>
                <a:lnTo>
                  <a:pt x="582" y="1392"/>
                </a:lnTo>
                <a:lnTo>
                  <a:pt x="582" y="1386"/>
                </a:lnTo>
                <a:lnTo>
                  <a:pt x="576" y="1386"/>
                </a:lnTo>
                <a:lnTo>
                  <a:pt x="576" y="1380"/>
                </a:lnTo>
                <a:lnTo>
                  <a:pt x="570" y="1386"/>
                </a:lnTo>
                <a:lnTo>
                  <a:pt x="564" y="1386"/>
                </a:lnTo>
                <a:lnTo>
                  <a:pt x="564" y="1380"/>
                </a:lnTo>
                <a:lnTo>
                  <a:pt x="564" y="1386"/>
                </a:lnTo>
                <a:lnTo>
                  <a:pt x="564" y="1380"/>
                </a:lnTo>
                <a:lnTo>
                  <a:pt x="558" y="1380"/>
                </a:lnTo>
                <a:lnTo>
                  <a:pt x="558" y="1386"/>
                </a:lnTo>
                <a:lnTo>
                  <a:pt x="552" y="1386"/>
                </a:lnTo>
                <a:lnTo>
                  <a:pt x="558" y="1386"/>
                </a:lnTo>
                <a:lnTo>
                  <a:pt x="552" y="1386"/>
                </a:lnTo>
                <a:lnTo>
                  <a:pt x="558" y="1392"/>
                </a:lnTo>
                <a:lnTo>
                  <a:pt x="552" y="1392"/>
                </a:lnTo>
                <a:lnTo>
                  <a:pt x="552" y="1386"/>
                </a:lnTo>
                <a:lnTo>
                  <a:pt x="546" y="1386"/>
                </a:lnTo>
                <a:lnTo>
                  <a:pt x="546" y="1380"/>
                </a:lnTo>
                <a:lnTo>
                  <a:pt x="540" y="1380"/>
                </a:lnTo>
                <a:lnTo>
                  <a:pt x="534" y="1380"/>
                </a:lnTo>
                <a:lnTo>
                  <a:pt x="534" y="1386"/>
                </a:lnTo>
                <a:lnTo>
                  <a:pt x="528" y="1386"/>
                </a:lnTo>
                <a:lnTo>
                  <a:pt x="522" y="1386"/>
                </a:lnTo>
                <a:lnTo>
                  <a:pt x="522" y="1392"/>
                </a:lnTo>
                <a:lnTo>
                  <a:pt x="516" y="1392"/>
                </a:lnTo>
                <a:lnTo>
                  <a:pt x="516" y="1386"/>
                </a:lnTo>
                <a:lnTo>
                  <a:pt x="510" y="1386"/>
                </a:lnTo>
                <a:lnTo>
                  <a:pt x="510" y="1380"/>
                </a:lnTo>
                <a:lnTo>
                  <a:pt x="504" y="1380"/>
                </a:lnTo>
                <a:lnTo>
                  <a:pt x="498" y="1380"/>
                </a:lnTo>
                <a:lnTo>
                  <a:pt x="498" y="1374"/>
                </a:lnTo>
                <a:lnTo>
                  <a:pt x="492" y="1374"/>
                </a:lnTo>
                <a:lnTo>
                  <a:pt x="486" y="1374"/>
                </a:lnTo>
                <a:lnTo>
                  <a:pt x="480" y="1374"/>
                </a:lnTo>
                <a:lnTo>
                  <a:pt x="474" y="1374"/>
                </a:lnTo>
                <a:lnTo>
                  <a:pt x="468" y="1374"/>
                </a:lnTo>
                <a:lnTo>
                  <a:pt x="468" y="1368"/>
                </a:lnTo>
                <a:lnTo>
                  <a:pt x="468" y="1374"/>
                </a:lnTo>
                <a:lnTo>
                  <a:pt x="462" y="1368"/>
                </a:lnTo>
                <a:lnTo>
                  <a:pt x="462" y="1374"/>
                </a:lnTo>
                <a:lnTo>
                  <a:pt x="456" y="1374"/>
                </a:lnTo>
                <a:lnTo>
                  <a:pt x="456" y="1368"/>
                </a:lnTo>
                <a:lnTo>
                  <a:pt x="456" y="1374"/>
                </a:lnTo>
                <a:lnTo>
                  <a:pt x="456" y="1368"/>
                </a:lnTo>
                <a:lnTo>
                  <a:pt x="450" y="1368"/>
                </a:lnTo>
                <a:lnTo>
                  <a:pt x="444" y="1368"/>
                </a:lnTo>
                <a:lnTo>
                  <a:pt x="444" y="1374"/>
                </a:lnTo>
                <a:lnTo>
                  <a:pt x="438" y="1374"/>
                </a:lnTo>
                <a:lnTo>
                  <a:pt x="432" y="1374"/>
                </a:lnTo>
                <a:lnTo>
                  <a:pt x="432" y="1368"/>
                </a:lnTo>
                <a:lnTo>
                  <a:pt x="432" y="1362"/>
                </a:lnTo>
                <a:lnTo>
                  <a:pt x="426" y="1362"/>
                </a:lnTo>
                <a:lnTo>
                  <a:pt x="426" y="1356"/>
                </a:lnTo>
                <a:lnTo>
                  <a:pt x="420" y="1356"/>
                </a:lnTo>
                <a:lnTo>
                  <a:pt x="420" y="1350"/>
                </a:lnTo>
                <a:lnTo>
                  <a:pt x="414" y="1344"/>
                </a:lnTo>
                <a:lnTo>
                  <a:pt x="408" y="1344"/>
                </a:lnTo>
                <a:lnTo>
                  <a:pt x="402" y="1344"/>
                </a:lnTo>
                <a:lnTo>
                  <a:pt x="396" y="1344"/>
                </a:lnTo>
                <a:lnTo>
                  <a:pt x="390" y="1344"/>
                </a:lnTo>
                <a:lnTo>
                  <a:pt x="384" y="1344"/>
                </a:lnTo>
                <a:lnTo>
                  <a:pt x="378" y="1344"/>
                </a:lnTo>
                <a:lnTo>
                  <a:pt x="372" y="1344"/>
                </a:lnTo>
                <a:lnTo>
                  <a:pt x="372" y="1338"/>
                </a:lnTo>
                <a:lnTo>
                  <a:pt x="378" y="1338"/>
                </a:lnTo>
                <a:lnTo>
                  <a:pt x="378" y="1332"/>
                </a:lnTo>
                <a:lnTo>
                  <a:pt x="384" y="1332"/>
                </a:lnTo>
                <a:lnTo>
                  <a:pt x="384" y="1326"/>
                </a:lnTo>
                <a:lnTo>
                  <a:pt x="384" y="1320"/>
                </a:lnTo>
                <a:lnTo>
                  <a:pt x="384" y="1314"/>
                </a:lnTo>
                <a:lnTo>
                  <a:pt x="384" y="1308"/>
                </a:lnTo>
                <a:lnTo>
                  <a:pt x="384" y="1302"/>
                </a:lnTo>
                <a:lnTo>
                  <a:pt x="390" y="1296"/>
                </a:lnTo>
                <a:lnTo>
                  <a:pt x="390" y="1290"/>
                </a:lnTo>
                <a:lnTo>
                  <a:pt x="390" y="1284"/>
                </a:lnTo>
                <a:lnTo>
                  <a:pt x="390" y="1278"/>
                </a:lnTo>
                <a:lnTo>
                  <a:pt x="396" y="1278"/>
                </a:lnTo>
                <a:lnTo>
                  <a:pt x="396" y="1272"/>
                </a:lnTo>
                <a:lnTo>
                  <a:pt x="390" y="1272"/>
                </a:lnTo>
                <a:lnTo>
                  <a:pt x="390" y="1266"/>
                </a:lnTo>
                <a:lnTo>
                  <a:pt x="390" y="1272"/>
                </a:lnTo>
                <a:lnTo>
                  <a:pt x="384" y="1272"/>
                </a:lnTo>
                <a:lnTo>
                  <a:pt x="384" y="1266"/>
                </a:lnTo>
                <a:lnTo>
                  <a:pt x="378" y="1266"/>
                </a:lnTo>
                <a:lnTo>
                  <a:pt x="372" y="1266"/>
                </a:lnTo>
                <a:lnTo>
                  <a:pt x="366" y="1266"/>
                </a:lnTo>
                <a:lnTo>
                  <a:pt x="366" y="1260"/>
                </a:lnTo>
                <a:lnTo>
                  <a:pt x="366" y="1254"/>
                </a:lnTo>
                <a:lnTo>
                  <a:pt x="366" y="1248"/>
                </a:lnTo>
                <a:lnTo>
                  <a:pt x="366" y="1242"/>
                </a:lnTo>
                <a:lnTo>
                  <a:pt x="360" y="1242"/>
                </a:lnTo>
                <a:lnTo>
                  <a:pt x="354" y="1242"/>
                </a:lnTo>
                <a:lnTo>
                  <a:pt x="348" y="1242"/>
                </a:lnTo>
                <a:lnTo>
                  <a:pt x="342" y="1242"/>
                </a:lnTo>
                <a:lnTo>
                  <a:pt x="342" y="1236"/>
                </a:lnTo>
                <a:lnTo>
                  <a:pt x="336" y="1242"/>
                </a:lnTo>
                <a:lnTo>
                  <a:pt x="330" y="1242"/>
                </a:lnTo>
                <a:lnTo>
                  <a:pt x="330" y="1236"/>
                </a:lnTo>
                <a:lnTo>
                  <a:pt x="324" y="1236"/>
                </a:lnTo>
                <a:lnTo>
                  <a:pt x="318" y="1236"/>
                </a:lnTo>
                <a:lnTo>
                  <a:pt x="312" y="1236"/>
                </a:lnTo>
                <a:lnTo>
                  <a:pt x="312" y="1242"/>
                </a:lnTo>
                <a:lnTo>
                  <a:pt x="306" y="1242"/>
                </a:lnTo>
                <a:lnTo>
                  <a:pt x="306" y="1248"/>
                </a:lnTo>
                <a:lnTo>
                  <a:pt x="300" y="1254"/>
                </a:lnTo>
                <a:lnTo>
                  <a:pt x="300" y="1260"/>
                </a:lnTo>
                <a:lnTo>
                  <a:pt x="294" y="1260"/>
                </a:lnTo>
                <a:lnTo>
                  <a:pt x="294" y="1266"/>
                </a:lnTo>
                <a:lnTo>
                  <a:pt x="288" y="1266"/>
                </a:lnTo>
                <a:lnTo>
                  <a:pt x="288" y="1272"/>
                </a:lnTo>
                <a:lnTo>
                  <a:pt x="282" y="1266"/>
                </a:lnTo>
                <a:lnTo>
                  <a:pt x="282" y="1272"/>
                </a:lnTo>
                <a:lnTo>
                  <a:pt x="276" y="1266"/>
                </a:lnTo>
                <a:lnTo>
                  <a:pt x="276" y="1272"/>
                </a:lnTo>
                <a:lnTo>
                  <a:pt x="276" y="1278"/>
                </a:lnTo>
                <a:lnTo>
                  <a:pt x="270" y="1278"/>
                </a:lnTo>
                <a:lnTo>
                  <a:pt x="270" y="1284"/>
                </a:lnTo>
                <a:lnTo>
                  <a:pt x="264" y="1284"/>
                </a:lnTo>
                <a:lnTo>
                  <a:pt x="258" y="1284"/>
                </a:lnTo>
                <a:lnTo>
                  <a:pt x="252" y="1284"/>
                </a:lnTo>
                <a:lnTo>
                  <a:pt x="246" y="1284"/>
                </a:lnTo>
                <a:lnTo>
                  <a:pt x="246" y="1278"/>
                </a:lnTo>
                <a:lnTo>
                  <a:pt x="240" y="1278"/>
                </a:lnTo>
                <a:lnTo>
                  <a:pt x="240" y="1284"/>
                </a:lnTo>
                <a:lnTo>
                  <a:pt x="234" y="1284"/>
                </a:lnTo>
                <a:lnTo>
                  <a:pt x="228" y="1278"/>
                </a:lnTo>
                <a:lnTo>
                  <a:pt x="228" y="1272"/>
                </a:lnTo>
                <a:lnTo>
                  <a:pt x="222" y="1266"/>
                </a:lnTo>
                <a:lnTo>
                  <a:pt x="222" y="1260"/>
                </a:lnTo>
                <a:lnTo>
                  <a:pt x="222" y="1254"/>
                </a:lnTo>
                <a:lnTo>
                  <a:pt x="216" y="1248"/>
                </a:lnTo>
                <a:lnTo>
                  <a:pt x="216" y="1242"/>
                </a:lnTo>
                <a:lnTo>
                  <a:pt x="210" y="1242"/>
                </a:lnTo>
                <a:lnTo>
                  <a:pt x="204" y="1236"/>
                </a:lnTo>
                <a:lnTo>
                  <a:pt x="204" y="1230"/>
                </a:lnTo>
                <a:lnTo>
                  <a:pt x="210" y="1224"/>
                </a:lnTo>
                <a:lnTo>
                  <a:pt x="204" y="1218"/>
                </a:lnTo>
                <a:lnTo>
                  <a:pt x="198" y="1212"/>
                </a:lnTo>
                <a:lnTo>
                  <a:pt x="198" y="1206"/>
                </a:lnTo>
                <a:lnTo>
                  <a:pt x="192" y="1200"/>
                </a:lnTo>
                <a:lnTo>
                  <a:pt x="192" y="1194"/>
                </a:lnTo>
                <a:lnTo>
                  <a:pt x="192" y="1188"/>
                </a:lnTo>
                <a:lnTo>
                  <a:pt x="192" y="1182"/>
                </a:lnTo>
                <a:lnTo>
                  <a:pt x="186" y="1176"/>
                </a:lnTo>
                <a:lnTo>
                  <a:pt x="186" y="1170"/>
                </a:lnTo>
                <a:lnTo>
                  <a:pt x="180" y="1170"/>
                </a:lnTo>
                <a:lnTo>
                  <a:pt x="180" y="1164"/>
                </a:lnTo>
                <a:lnTo>
                  <a:pt x="180" y="1158"/>
                </a:lnTo>
                <a:lnTo>
                  <a:pt x="180" y="1152"/>
                </a:lnTo>
                <a:lnTo>
                  <a:pt x="180" y="1146"/>
                </a:lnTo>
                <a:lnTo>
                  <a:pt x="180" y="1140"/>
                </a:lnTo>
                <a:lnTo>
                  <a:pt x="180" y="1134"/>
                </a:lnTo>
                <a:lnTo>
                  <a:pt x="180" y="1128"/>
                </a:lnTo>
                <a:lnTo>
                  <a:pt x="180" y="1122"/>
                </a:lnTo>
                <a:lnTo>
                  <a:pt x="180" y="1116"/>
                </a:lnTo>
                <a:lnTo>
                  <a:pt x="174" y="1110"/>
                </a:lnTo>
                <a:lnTo>
                  <a:pt x="174" y="1104"/>
                </a:lnTo>
                <a:lnTo>
                  <a:pt x="168" y="1104"/>
                </a:lnTo>
                <a:lnTo>
                  <a:pt x="168" y="1098"/>
                </a:lnTo>
                <a:lnTo>
                  <a:pt x="168" y="1092"/>
                </a:lnTo>
                <a:lnTo>
                  <a:pt x="174" y="1092"/>
                </a:lnTo>
                <a:lnTo>
                  <a:pt x="174" y="1086"/>
                </a:lnTo>
                <a:lnTo>
                  <a:pt x="174" y="1080"/>
                </a:lnTo>
                <a:lnTo>
                  <a:pt x="174" y="1074"/>
                </a:lnTo>
                <a:lnTo>
                  <a:pt x="168" y="1068"/>
                </a:lnTo>
                <a:lnTo>
                  <a:pt x="162" y="1068"/>
                </a:lnTo>
                <a:lnTo>
                  <a:pt x="156" y="1062"/>
                </a:lnTo>
                <a:lnTo>
                  <a:pt x="156" y="1056"/>
                </a:lnTo>
                <a:lnTo>
                  <a:pt x="156" y="1050"/>
                </a:lnTo>
                <a:lnTo>
                  <a:pt x="150" y="1050"/>
                </a:lnTo>
                <a:lnTo>
                  <a:pt x="150" y="1044"/>
                </a:lnTo>
                <a:lnTo>
                  <a:pt x="150" y="1038"/>
                </a:lnTo>
                <a:lnTo>
                  <a:pt x="144" y="1032"/>
                </a:lnTo>
                <a:lnTo>
                  <a:pt x="144" y="1026"/>
                </a:lnTo>
                <a:lnTo>
                  <a:pt x="144" y="1020"/>
                </a:lnTo>
                <a:lnTo>
                  <a:pt x="150" y="1020"/>
                </a:lnTo>
                <a:lnTo>
                  <a:pt x="150" y="1014"/>
                </a:lnTo>
                <a:lnTo>
                  <a:pt x="150" y="1008"/>
                </a:lnTo>
                <a:lnTo>
                  <a:pt x="150" y="1002"/>
                </a:lnTo>
                <a:lnTo>
                  <a:pt x="156" y="1002"/>
                </a:lnTo>
                <a:lnTo>
                  <a:pt x="156" y="996"/>
                </a:lnTo>
                <a:lnTo>
                  <a:pt x="156" y="990"/>
                </a:lnTo>
                <a:lnTo>
                  <a:pt x="150" y="990"/>
                </a:lnTo>
                <a:lnTo>
                  <a:pt x="150" y="984"/>
                </a:lnTo>
                <a:lnTo>
                  <a:pt x="144" y="984"/>
                </a:lnTo>
                <a:lnTo>
                  <a:pt x="138" y="978"/>
                </a:lnTo>
                <a:lnTo>
                  <a:pt x="132" y="978"/>
                </a:lnTo>
                <a:lnTo>
                  <a:pt x="132" y="972"/>
                </a:lnTo>
                <a:lnTo>
                  <a:pt x="132" y="966"/>
                </a:lnTo>
                <a:lnTo>
                  <a:pt x="132" y="960"/>
                </a:lnTo>
                <a:lnTo>
                  <a:pt x="138" y="960"/>
                </a:lnTo>
                <a:lnTo>
                  <a:pt x="138" y="954"/>
                </a:lnTo>
                <a:lnTo>
                  <a:pt x="144" y="954"/>
                </a:lnTo>
                <a:lnTo>
                  <a:pt x="138" y="948"/>
                </a:lnTo>
                <a:lnTo>
                  <a:pt x="144" y="948"/>
                </a:lnTo>
                <a:lnTo>
                  <a:pt x="144" y="942"/>
                </a:lnTo>
                <a:lnTo>
                  <a:pt x="144" y="936"/>
                </a:lnTo>
                <a:lnTo>
                  <a:pt x="144" y="930"/>
                </a:lnTo>
                <a:lnTo>
                  <a:pt x="138" y="930"/>
                </a:lnTo>
                <a:lnTo>
                  <a:pt x="138" y="924"/>
                </a:lnTo>
                <a:lnTo>
                  <a:pt x="138" y="918"/>
                </a:lnTo>
                <a:lnTo>
                  <a:pt x="138" y="912"/>
                </a:lnTo>
                <a:lnTo>
                  <a:pt x="144" y="912"/>
                </a:lnTo>
                <a:lnTo>
                  <a:pt x="150" y="906"/>
                </a:lnTo>
                <a:lnTo>
                  <a:pt x="156" y="906"/>
                </a:lnTo>
                <a:lnTo>
                  <a:pt x="156" y="900"/>
                </a:lnTo>
                <a:lnTo>
                  <a:pt x="150" y="900"/>
                </a:lnTo>
                <a:lnTo>
                  <a:pt x="150" y="894"/>
                </a:lnTo>
                <a:lnTo>
                  <a:pt x="144" y="894"/>
                </a:lnTo>
                <a:lnTo>
                  <a:pt x="144" y="900"/>
                </a:lnTo>
                <a:lnTo>
                  <a:pt x="138" y="894"/>
                </a:lnTo>
                <a:lnTo>
                  <a:pt x="138" y="888"/>
                </a:lnTo>
                <a:lnTo>
                  <a:pt x="132" y="888"/>
                </a:lnTo>
                <a:lnTo>
                  <a:pt x="132" y="894"/>
                </a:lnTo>
                <a:lnTo>
                  <a:pt x="126" y="894"/>
                </a:lnTo>
                <a:lnTo>
                  <a:pt x="126" y="900"/>
                </a:lnTo>
                <a:lnTo>
                  <a:pt x="120" y="894"/>
                </a:lnTo>
                <a:lnTo>
                  <a:pt x="120" y="888"/>
                </a:lnTo>
                <a:lnTo>
                  <a:pt x="126" y="888"/>
                </a:lnTo>
                <a:lnTo>
                  <a:pt x="132" y="888"/>
                </a:lnTo>
                <a:lnTo>
                  <a:pt x="132" y="882"/>
                </a:lnTo>
                <a:lnTo>
                  <a:pt x="138" y="882"/>
                </a:lnTo>
                <a:lnTo>
                  <a:pt x="138" y="876"/>
                </a:lnTo>
                <a:lnTo>
                  <a:pt x="138" y="870"/>
                </a:lnTo>
                <a:lnTo>
                  <a:pt x="138" y="864"/>
                </a:lnTo>
                <a:lnTo>
                  <a:pt x="144" y="858"/>
                </a:lnTo>
                <a:lnTo>
                  <a:pt x="138" y="858"/>
                </a:lnTo>
                <a:lnTo>
                  <a:pt x="132" y="858"/>
                </a:lnTo>
                <a:lnTo>
                  <a:pt x="132" y="852"/>
                </a:lnTo>
                <a:lnTo>
                  <a:pt x="138" y="852"/>
                </a:lnTo>
                <a:lnTo>
                  <a:pt x="138" y="846"/>
                </a:lnTo>
                <a:lnTo>
                  <a:pt x="144" y="840"/>
                </a:lnTo>
                <a:lnTo>
                  <a:pt x="144" y="834"/>
                </a:lnTo>
                <a:lnTo>
                  <a:pt x="138" y="834"/>
                </a:lnTo>
                <a:lnTo>
                  <a:pt x="138" y="828"/>
                </a:lnTo>
                <a:lnTo>
                  <a:pt x="138" y="822"/>
                </a:lnTo>
                <a:lnTo>
                  <a:pt x="132" y="822"/>
                </a:lnTo>
                <a:lnTo>
                  <a:pt x="126" y="828"/>
                </a:lnTo>
                <a:lnTo>
                  <a:pt x="126" y="822"/>
                </a:lnTo>
                <a:lnTo>
                  <a:pt x="120" y="822"/>
                </a:lnTo>
                <a:lnTo>
                  <a:pt x="120" y="828"/>
                </a:lnTo>
                <a:lnTo>
                  <a:pt x="114" y="822"/>
                </a:lnTo>
                <a:lnTo>
                  <a:pt x="114" y="816"/>
                </a:lnTo>
                <a:lnTo>
                  <a:pt x="108" y="816"/>
                </a:lnTo>
                <a:lnTo>
                  <a:pt x="108" y="810"/>
                </a:lnTo>
                <a:lnTo>
                  <a:pt x="108" y="816"/>
                </a:lnTo>
                <a:lnTo>
                  <a:pt x="102" y="816"/>
                </a:lnTo>
                <a:lnTo>
                  <a:pt x="96" y="810"/>
                </a:lnTo>
                <a:lnTo>
                  <a:pt x="96" y="804"/>
                </a:lnTo>
                <a:lnTo>
                  <a:pt x="96" y="798"/>
                </a:lnTo>
                <a:lnTo>
                  <a:pt x="102" y="798"/>
                </a:lnTo>
                <a:lnTo>
                  <a:pt x="108" y="798"/>
                </a:lnTo>
                <a:lnTo>
                  <a:pt x="108" y="792"/>
                </a:lnTo>
                <a:lnTo>
                  <a:pt x="114" y="792"/>
                </a:lnTo>
                <a:lnTo>
                  <a:pt x="114" y="786"/>
                </a:lnTo>
                <a:lnTo>
                  <a:pt x="120" y="786"/>
                </a:lnTo>
                <a:lnTo>
                  <a:pt x="126" y="786"/>
                </a:lnTo>
                <a:lnTo>
                  <a:pt x="132" y="786"/>
                </a:lnTo>
                <a:lnTo>
                  <a:pt x="132" y="792"/>
                </a:lnTo>
                <a:lnTo>
                  <a:pt x="132" y="786"/>
                </a:lnTo>
                <a:lnTo>
                  <a:pt x="132" y="780"/>
                </a:lnTo>
                <a:lnTo>
                  <a:pt x="138" y="780"/>
                </a:lnTo>
                <a:lnTo>
                  <a:pt x="138" y="774"/>
                </a:lnTo>
                <a:lnTo>
                  <a:pt x="138" y="768"/>
                </a:lnTo>
                <a:lnTo>
                  <a:pt x="138" y="762"/>
                </a:lnTo>
                <a:lnTo>
                  <a:pt x="138" y="756"/>
                </a:lnTo>
                <a:lnTo>
                  <a:pt x="138" y="750"/>
                </a:lnTo>
                <a:lnTo>
                  <a:pt x="138" y="744"/>
                </a:lnTo>
                <a:lnTo>
                  <a:pt x="132" y="744"/>
                </a:lnTo>
                <a:lnTo>
                  <a:pt x="132" y="738"/>
                </a:lnTo>
                <a:lnTo>
                  <a:pt x="126" y="738"/>
                </a:lnTo>
                <a:lnTo>
                  <a:pt x="126" y="732"/>
                </a:lnTo>
                <a:lnTo>
                  <a:pt x="126" y="726"/>
                </a:lnTo>
                <a:lnTo>
                  <a:pt x="126" y="720"/>
                </a:lnTo>
                <a:lnTo>
                  <a:pt x="126" y="714"/>
                </a:lnTo>
                <a:lnTo>
                  <a:pt x="120" y="708"/>
                </a:lnTo>
                <a:lnTo>
                  <a:pt x="120" y="702"/>
                </a:lnTo>
                <a:lnTo>
                  <a:pt x="114" y="702"/>
                </a:lnTo>
                <a:lnTo>
                  <a:pt x="114" y="696"/>
                </a:lnTo>
                <a:lnTo>
                  <a:pt x="114" y="690"/>
                </a:lnTo>
                <a:lnTo>
                  <a:pt x="108" y="690"/>
                </a:lnTo>
                <a:lnTo>
                  <a:pt x="108" y="684"/>
                </a:lnTo>
                <a:lnTo>
                  <a:pt x="108" y="678"/>
                </a:lnTo>
                <a:lnTo>
                  <a:pt x="102" y="678"/>
                </a:lnTo>
                <a:lnTo>
                  <a:pt x="96" y="678"/>
                </a:lnTo>
                <a:lnTo>
                  <a:pt x="96" y="672"/>
                </a:lnTo>
                <a:lnTo>
                  <a:pt x="90" y="678"/>
                </a:lnTo>
                <a:lnTo>
                  <a:pt x="84" y="678"/>
                </a:lnTo>
                <a:lnTo>
                  <a:pt x="78" y="684"/>
                </a:lnTo>
                <a:lnTo>
                  <a:pt x="72" y="684"/>
                </a:lnTo>
                <a:lnTo>
                  <a:pt x="72" y="690"/>
                </a:lnTo>
                <a:lnTo>
                  <a:pt x="66" y="690"/>
                </a:lnTo>
                <a:lnTo>
                  <a:pt x="60" y="690"/>
                </a:lnTo>
                <a:lnTo>
                  <a:pt x="54" y="684"/>
                </a:lnTo>
                <a:lnTo>
                  <a:pt x="48" y="684"/>
                </a:lnTo>
                <a:lnTo>
                  <a:pt x="42" y="684"/>
                </a:lnTo>
                <a:lnTo>
                  <a:pt x="36" y="684"/>
                </a:lnTo>
                <a:lnTo>
                  <a:pt x="36" y="678"/>
                </a:lnTo>
                <a:lnTo>
                  <a:pt x="30" y="678"/>
                </a:lnTo>
                <a:lnTo>
                  <a:pt x="24" y="678"/>
                </a:lnTo>
                <a:lnTo>
                  <a:pt x="18" y="672"/>
                </a:lnTo>
                <a:lnTo>
                  <a:pt x="18" y="666"/>
                </a:lnTo>
                <a:lnTo>
                  <a:pt x="12" y="660"/>
                </a:lnTo>
                <a:lnTo>
                  <a:pt x="6" y="654"/>
                </a:lnTo>
                <a:lnTo>
                  <a:pt x="0" y="654"/>
                </a:lnTo>
                <a:lnTo>
                  <a:pt x="0" y="648"/>
                </a:lnTo>
                <a:lnTo>
                  <a:pt x="6" y="648"/>
                </a:lnTo>
                <a:lnTo>
                  <a:pt x="6" y="642"/>
                </a:lnTo>
                <a:lnTo>
                  <a:pt x="6" y="636"/>
                </a:lnTo>
                <a:lnTo>
                  <a:pt x="6" y="630"/>
                </a:lnTo>
                <a:lnTo>
                  <a:pt x="6" y="624"/>
                </a:lnTo>
                <a:lnTo>
                  <a:pt x="6" y="618"/>
                </a:lnTo>
                <a:lnTo>
                  <a:pt x="12" y="618"/>
                </a:lnTo>
                <a:lnTo>
                  <a:pt x="18" y="624"/>
                </a:lnTo>
                <a:lnTo>
                  <a:pt x="24" y="624"/>
                </a:lnTo>
                <a:lnTo>
                  <a:pt x="30" y="624"/>
                </a:lnTo>
                <a:lnTo>
                  <a:pt x="36" y="630"/>
                </a:lnTo>
                <a:lnTo>
                  <a:pt x="42" y="630"/>
                </a:lnTo>
                <a:lnTo>
                  <a:pt x="48" y="630"/>
                </a:lnTo>
                <a:lnTo>
                  <a:pt x="48" y="636"/>
                </a:lnTo>
                <a:lnTo>
                  <a:pt x="54" y="642"/>
                </a:lnTo>
                <a:lnTo>
                  <a:pt x="60" y="648"/>
                </a:lnTo>
                <a:lnTo>
                  <a:pt x="66" y="648"/>
                </a:lnTo>
                <a:lnTo>
                  <a:pt x="66" y="642"/>
                </a:lnTo>
                <a:lnTo>
                  <a:pt x="66" y="636"/>
                </a:lnTo>
                <a:lnTo>
                  <a:pt x="66" y="630"/>
                </a:lnTo>
                <a:lnTo>
                  <a:pt x="66" y="624"/>
                </a:lnTo>
                <a:lnTo>
                  <a:pt x="72" y="624"/>
                </a:lnTo>
                <a:lnTo>
                  <a:pt x="72" y="618"/>
                </a:lnTo>
                <a:lnTo>
                  <a:pt x="78" y="618"/>
                </a:lnTo>
                <a:lnTo>
                  <a:pt x="78" y="612"/>
                </a:lnTo>
                <a:lnTo>
                  <a:pt x="84" y="612"/>
                </a:lnTo>
                <a:lnTo>
                  <a:pt x="90" y="612"/>
                </a:lnTo>
                <a:lnTo>
                  <a:pt x="96" y="612"/>
                </a:lnTo>
                <a:lnTo>
                  <a:pt x="96" y="606"/>
                </a:lnTo>
                <a:lnTo>
                  <a:pt x="102" y="606"/>
                </a:lnTo>
                <a:lnTo>
                  <a:pt x="102" y="600"/>
                </a:lnTo>
                <a:lnTo>
                  <a:pt x="102" y="594"/>
                </a:lnTo>
                <a:lnTo>
                  <a:pt x="102" y="588"/>
                </a:lnTo>
                <a:lnTo>
                  <a:pt x="108" y="588"/>
                </a:lnTo>
                <a:lnTo>
                  <a:pt x="108" y="594"/>
                </a:lnTo>
                <a:lnTo>
                  <a:pt x="108" y="588"/>
                </a:lnTo>
                <a:lnTo>
                  <a:pt x="108" y="582"/>
                </a:lnTo>
                <a:lnTo>
                  <a:pt x="114" y="582"/>
                </a:lnTo>
                <a:lnTo>
                  <a:pt x="114" y="576"/>
                </a:lnTo>
                <a:lnTo>
                  <a:pt x="114" y="570"/>
                </a:lnTo>
                <a:lnTo>
                  <a:pt x="120" y="570"/>
                </a:lnTo>
                <a:lnTo>
                  <a:pt x="126" y="564"/>
                </a:lnTo>
                <a:lnTo>
                  <a:pt x="126" y="558"/>
                </a:lnTo>
                <a:lnTo>
                  <a:pt x="120" y="558"/>
                </a:lnTo>
                <a:lnTo>
                  <a:pt x="114" y="558"/>
                </a:lnTo>
                <a:lnTo>
                  <a:pt x="114" y="552"/>
                </a:lnTo>
                <a:lnTo>
                  <a:pt x="108" y="552"/>
                </a:lnTo>
                <a:lnTo>
                  <a:pt x="108" y="546"/>
                </a:lnTo>
                <a:lnTo>
                  <a:pt x="108" y="540"/>
                </a:lnTo>
                <a:lnTo>
                  <a:pt x="102" y="540"/>
                </a:lnTo>
                <a:lnTo>
                  <a:pt x="96" y="540"/>
                </a:lnTo>
                <a:lnTo>
                  <a:pt x="96" y="534"/>
                </a:lnTo>
                <a:lnTo>
                  <a:pt x="90" y="534"/>
                </a:lnTo>
                <a:lnTo>
                  <a:pt x="90" y="540"/>
                </a:lnTo>
                <a:lnTo>
                  <a:pt x="90" y="534"/>
                </a:lnTo>
                <a:lnTo>
                  <a:pt x="90" y="528"/>
                </a:lnTo>
                <a:lnTo>
                  <a:pt x="90" y="522"/>
                </a:lnTo>
                <a:lnTo>
                  <a:pt x="96" y="522"/>
                </a:lnTo>
                <a:lnTo>
                  <a:pt x="102" y="516"/>
                </a:lnTo>
                <a:lnTo>
                  <a:pt x="102" y="510"/>
                </a:lnTo>
                <a:lnTo>
                  <a:pt x="108" y="510"/>
                </a:lnTo>
                <a:lnTo>
                  <a:pt x="114" y="510"/>
                </a:lnTo>
                <a:lnTo>
                  <a:pt x="114" y="504"/>
                </a:lnTo>
                <a:lnTo>
                  <a:pt x="120" y="504"/>
                </a:lnTo>
                <a:lnTo>
                  <a:pt x="120" y="498"/>
                </a:lnTo>
                <a:lnTo>
                  <a:pt x="120" y="504"/>
                </a:lnTo>
                <a:lnTo>
                  <a:pt x="126" y="504"/>
                </a:lnTo>
                <a:lnTo>
                  <a:pt x="126" y="498"/>
                </a:lnTo>
                <a:lnTo>
                  <a:pt x="132" y="498"/>
                </a:lnTo>
                <a:lnTo>
                  <a:pt x="132" y="492"/>
                </a:lnTo>
                <a:lnTo>
                  <a:pt x="138" y="492"/>
                </a:lnTo>
                <a:lnTo>
                  <a:pt x="138" y="486"/>
                </a:lnTo>
                <a:lnTo>
                  <a:pt x="138" y="480"/>
                </a:lnTo>
                <a:lnTo>
                  <a:pt x="138" y="474"/>
                </a:lnTo>
                <a:lnTo>
                  <a:pt x="132" y="474"/>
                </a:lnTo>
                <a:lnTo>
                  <a:pt x="132" y="468"/>
                </a:lnTo>
                <a:lnTo>
                  <a:pt x="132" y="462"/>
                </a:lnTo>
                <a:lnTo>
                  <a:pt x="126" y="462"/>
                </a:lnTo>
                <a:lnTo>
                  <a:pt x="120" y="462"/>
                </a:lnTo>
                <a:lnTo>
                  <a:pt x="120" y="456"/>
                </a:lnTo>
                <a:lnTo>
                  <a:pt x="114" y="456"/>
                </a:lnTo>
                <a:lnTo>
                  <a:pt x="114" y="462"/>
                </a:lnTo>
                <a:lnTo>
                  <a:pt x="114" y="456"/>
                </a:lnTo>
                <a:lnTo>
                  <a:pt x="108" y="456"/>
                </a:lnTo>
                <a:lnTo>
                  <a:pt x="108" y="462"/>
                </a:lnTo>
                <a:lnTo>
                  <a:pt x="108" y="456"/>
                </a:lnTo>
                <a:lnTo>
                  <a:pt x="108" y="462"/>
                </a:lnTo>
                <a:lnTo>
                  <a:pt x="108" y="456"/>
                </a:lnTo>
                <a:lnTo>
                  <a:pt x="108" y="462"/>
                </a:lnTo>
                <a:lnTo>
                  <a:pt x="102" y="462"/>
                </a:lnTo>
                <a:lnTo>
                  <a:pt x="96" y="462"/>
                </a:lnTo>
                <a:lnTo>
                  <a:pt x="96" y="468"/>
                </a:lnTo>
                <a:lnTo>
                  <a:pt x="90" y="462"/>
                </a:lnTo>
                <a:lnTo>
                  <a:pt x="90" y="468"/>
                </a:lnTo>
                <a:lnTo>
                  <a:pt x="90" y="462"/>
                </a:lnTo>
                <a:lnTo>
                  <a:pt x="84" y="462"/>
                </a:lnTo>
                <a:lnTo>
                  <a:pt x="78" y="462"/>
                </a:lnTo>
                <a:lnTo>
                  <a:pt x="78" y="456"/>
                </a:lnTo>
                <a:lnTo>
                  <a:pt x="84" y="450"/>
                </a:lnTo>
                <a:lnTo>
                  <a:pt x="84" y="456"/>
                </a:lnTo>
                <a:lnTo>
                  <a:pt x="84" y="450"/>
                </a:lnTo>
                <a:lnTo>
                  <a:pt x="90" y="450"/>
                </a:lnTo>
                <a:lnTo>
                  <a:pt x="96" y="450"/>
                </a:lnTo>
                <a:lnTo>
                  <a:pt x="96" y="444"/>
                </a:lnTo>
                <a:lnTo>
                  <a:pt x="96" y="438"/>
                </a:lnTo>
                <a:lnTo>
                  <a:pt x="102" y="438"/>
                </a:lnTo>
                <a:lnTo>
                  <a:pt x="102" y="432"/>
                </a:lnTo>
                <a:lnTo>
                  <a:pt x="102" y="426"/>
                </a:lnTo>
                <a:lnTo>
                  <a:pt x="102" y="420"/>
                </a:lnTo>
                <a:lnTo>
                  <a:pt x="108" y="420"/>
                </a:lnTo>
                <a:lnTo>
                  <a:pt x="102" y="414"/>
                </a:lnTo>
                <a:lnTo>
                  <a:pt x="102" y="408"/>
                </a:lnTo>
                <a:lnTo>
                  <a:pt x="96" y="408"/>
                </a:lnTo>
                <a:lnTo>
                  <a:pt x="96" y="402"/>
                </a:lnTo>
                <a:lnTo>
                  <a:pt x="90" y="402"/>
                </a:lnTo>
                <a:lnTo>
                  <a:pt x="90" y="396"/>
                </a:lnTo>
                <a:lnTo>
                  <a:pt x="90" y="390"/>
                </a:lnTo>
                <a:lnTo>
                  <a:pt x="84" y="384"/>
                </a:lnTo>
                <a:lnTo>
                  <a:pt x="84" y="378"/>
                </a:lnTo>
                <a:lnTo>
                  <a:pt x="78" y="378"/>
                </a:lnTo>
                <a:lnTo>
                  <a:pt x="78" y="372"/>
                </a:lnTo>
                <a:lnTo>
                  <a:pt x="84" y="372"/>
                </a:lnTo>
                <a:lnTo>
                  <a:pt x="84" y="366"/>
                </a:lnTo>
                <a:lnTo>
                  <a:pt x="84" y="360"/>
                </a:lnTo>
                <a:lnTo>
                  <a:pt x="78" y="360"/>
                </a:lnTo>
                <a:lnTo>
                  <a:pt x="78" y="354"/>
                </a:lnTo>
                <a:lnTo>
                  <a:pt x="84" y="354"/>
                </a:lnTo>
                <a:lnTo>
                  <a:pt x="84" y="348"/>
                </a:lnTo>
                <a:lnTo>
                  <a:pt x="90" y="348"/>
                </a:lnTo>
                <a:lnTo>
                  <a:pt x="96" y="348"/>
                </a:lnTo>
                <a:lnTo>
                  <a:pt x="102" y="342"/>
                </a:lnTo>
                <a:lnTo>
                  <a:pt x="102" y="336"/>
                </a:lnTo>
                <a:lnTo>
                  <a:pt x="102" y="342"/>
                </a:lnTo>
                <a:lnTo>
                  <a:pt x="108" y="336"/>
                </a:lnTo>
                <a:lnTo>
                  <a:pt x="114" y="336"/>
                </a:lnTo>
                <a:lnTo>
                  <a:pt x="120" y="336"/>
                </a:lnTo>
                <a:lnTo>
                  <a:pt x="120" y="330"/>
                </a:lnTo>
                <a:lnTo>
                  <a:pt x="126" y="330"/>
                </a:lnTo>
                <a:lnTo>
                  <a:pt x="126" y="324"/>
                </a:lnTo>
                <a:lnTo>
                  <a:pt x="126" y="318"/>
                </a:lnTo>
                <a:lnTo>
                  <a:pt x="132" y="318"/>
                </a:lnTo>
                <a:lnTo>
                  <a:pt x="138" y="318"/>
                </a:lnTo>
                <a:lnTo>
                  <a:pt x="144" y="318"/>
                </a:lnTo>
                <a:lnTo>
                  <a:pt x="144" y="312"/>
                </a:lnTo>
                <a:lnTo>
                  <a:pt x="144" y="306"/>
                </a:lnTo>
                <a:lnTo>
                  <a:pt x="150" y="306"/>
                </a:lnTo>
                <a:lnTo>
                  <a:pt x="156" y="306"/>
                </a:lnTo>
                <a:lnTo>
                  <a:pt x="156" y="312"/>
                </a:lnTo>
                <a:lnTo>
                  <a:pt x="162" y="318"/>
                </a:lnTo>
                <a:lnTo>
                  <a:pt x="168" y="318"/>
                </a:lnTo>
                <a:lnTo>
                  <a:pt x="174" y="318"/>
                </a:lnTo>
                <a:lnTo>
                  <a:pt x="180" y="318"/>
                </a:lnTo>
                <a:lnTo>
                  <a:pt x="186" y="318"/>
                </a:lnTo>
                <a:lnTo>
                  <a:pt x="192" y="318"/>
                </a:lnTo>
                <a:lnTo>
                  <a:pt x="192" y="312"/>
                </a:lnTo>
                <a:lnTo>
                  <a:pt x="198" y="312"/>
                </a:lnTo>
                <a:lnTo>
                  <a:pt x="198" y="306"/>
                </a:lnTo>
                <a:lnTo>
                  <a:pt x="198" y="300"/>
                </a:lnTo>
                <a:lnTo>
                  <a:pt x="198" y="294"/>
                </a:lnTo>
                <a:lnTo>
                  <a:pt x="204" y="294"/>
                </a:lnTo>
                <a:lnTo>
                  <a:pt x="210" y="294"/>
                </a:lnTo>
                <a:lnTo>
                  <a:pt x="216" y="294"/>
                </a:lnTo>
                <a:lnTo>
                  <a:pt x="222" y="300"/>
                </a:lnTo>
                <a:lnTo>
                  <a:pt x="228" y="300"/>
                </a:lnTo>
                <a:lnTo>
                  <a:pt x="234" y="300"/>
                </a:lnTo>
                <a:lnTo>
                  <a:pt x="240" y="300"/>
                </a:lnTo>
                <a:lnTo>
                  <a:pt x="246" y="300"/>
                </a:lnTo>
                <a:lnTo>
                  <a:pt x="252" y="306"/>
                </a:lnTo>
                <a:lnTo>
                  <a:pt x="252" y="300"/>
                </a:lnTo>
                <a:lnTo>
                  <a:pt x="258" y="300"/>
                </a:lnTo>
                <a:lnTo>
                  <a:pt x="264" y="294"/>
                </a:lnTo>
                <a:lnTo>
                  <a:pt x="264" y="288"/>
                </a:lnTo>
                <a:lnTo>
                  <a:pt x="264" y="282"/>
                </a:lnTo>
                <a:lnTo>
                  <a:pt x="270" y="282"/>
                </a:lnTo>
                <a:lnTo>
                  <a:pt x="270" y="276"/>
                </a:lnTo>
                <a:lnTo>
                  <a:pt x="276" y="276"/>
                </a:lnTo>
                <a:lnTo>
                  <a:pt x="282" y="276"/>
                </a:lnTo>
                <a:lnTo>
                  <a:pt x="282" y="282"/>
                </a:lnTo>
                <a:lnTo>
                  <a:pt x="282" y="288"/>
                </a:lnTo>
                <a:lnTo>
                  <a:pt x="282" y="294"/>
                </a:lnTo>
                <a:lnTo>
                  <a:pt x="288" y="294"/>
                </a:lnTo>
                <a:lnTo>
                  <a:pt x="288" y="300"/>
                </a:lnTo>
                <a:lnTo>
                  <a:pt x="294" y="300"/>
                </a:lnTo>
                <a:lnTo>
                  <a:pt x="294" y="306"/>
                </a:lnTo>
                <a:lnTo>
                  <a:pt x="294" y="300"/>
                </a:lnTo>
                <a:lnTo>
                  <a:pt x="300" y="300"/>
                </a:lnTo>
                <a:lnTo>
                  <a:pt x="306" y="300"/>
                </a:lnTo>
                <a:lnTo>
                  <a:pt x="306" y="294"/>
                </a:lnTo>
                <a:lnTo>
                  <a:pt x="312" y="288"/>
                </a:lnTo>
                <a:lnTo>
                  <a:pt x="312" y="282"/>
                </a:lnTo>
                <a:lnTo>
                  <a:pt x="318" y="282"/>
                </a:lnTo>
                <a:lnTo>
                  <a:pt x="324" y="282"/>
                </a:lnTo>
                <a:lnTo>
                  <a:pt x="330" y="282"/>
                </a:lnTo>
                <a:lnTo>
                  <a:pt x="336" y="282"/>
                </a:lnTo>
                <a:lnTo>
                  <a:pt x="336" y="276"/>
                </a:lnTo>
                <a:lnTo>
                  <a:pt x="342" y="276"/>
                </a:lnTo>
                <a:lnTo>
                  <a:pt x="342" y="270"/>
                </a:lnTo>
                <a:lnTo>
                  <a:pt x="348" y="270"/>
                </a:lnTo>
                <a:lnTo>
                  <a:pt x="348" y="264"/>
                </a:lnTo>
                <a:lnTo>
                  <a:pt x="348" y="258"/>
                </a:lnTo>
                <a:lnTo>
                  <a:pt x="354" y="258"/>
                </a:lnTo>
                <a:lnTo>
                  <a:pt x="354" y="252"/>
                </a:lnTo>
                <a:lnTo>
                  <a:pt x="348" y="252"/>
                </a:lnTo>
                <a:lnTo>
                  <a:pt x="348" y="246"/>
                </a:lnTo>
                <a:lnTo>
                  <a:pt x="354" y="246"/>
                </a:lnTo>
                <a:lnTo>
                  <a:pt x="354" y="240"/>
                </a:lnTo>
                <a:lnTo>
                  <a:pt x="354" y="234"/>
                </a:lnTo>
                <a:lnTo>
                  <a:pt x="360" y="234"/>
                </a:lnTo>
                <a:lnTo>
                  <a:pt x="366" y="234"/>
                </a:lnTo>
                <a:lnTo>
                  <a:pt x="372" y="234"/>
                </a:lnTo>
                <a:lnTo>
                  <a:pt x="378" y="234"/>
                </a:lnTo>
                <a:lnTo>
                  <a:pt x="378" y="240"/>
                </a:lnTo>
                <a:lnTo>
                  <a:pt x="378" y="246"/>
                </a:lnTo>
                <a:lnTo>
                  <a:pt x="384" y="246"/>
                </a:lnTo>
                <a:lnTo>
                  <a:pt x="390" y="246"/>
                </a:lnTo>
                <a:lnTo>
                  <a:pt x="396" y="252"/>
                </a:lnTo>
                <a:lnTo>
                  <a:pt x="402" y="252"/>
                </a:lnTo>
                <a:lnTo>
                  <a:pt x="402" y="246"/>
                </a:lnTo>
                <a:lnTo>
                  <a:pt x="408" y="246"/>
                </a:lnTo>
                <a:lnTo>
                  <a:pt x="408" y="252"/>
                </a:lnTo>
                <a:lnTo>
                  <a:pt x="414" y="252"/>
                </a:lnTo>
                <a:lnTo>
                  <a:pt x="420" y="252"/>
                </a:lnTo>
                <a:lnTo>
                  <a:pt x="420" y="258"/>
                </a:lnTo>
                <a:lnTo>
                  <a:pt x="426" y="264"/>
                </a:lnTo>
                <a:lnTo>
                  <a:pt x="426" y="258"/>
                </a:lnTo>
                <a:lnTo>
                  <a:pt x="432" y="258"/>
                </a:lnTo>
                <a:lnTo>
                  <a:pt x="432" y="252"/>
                </a:lnTo>
                <a:lnTo>
                  <a:pt x="438" y="252"/>
                </a:lnTo>
                <a:lnTo>
                  <a:pt x="438" y="246"/>
                </a:lnTo>
                <a:lnTo>
                  <a:pt x="444" y="246"/>
                </a:lnTo>
                <a:lnTo>
                  <a:pt x="444" y="240"/>
                </a:lnTo>
                <a:lnTo>
                  <a:pt x="444" y="234"/>
                </a:lnTo>
                <a:lnTo>
                  <a:pt x="444" y="228"/>
                </a:lnTo>
                <a:lnTo>
                  <a:pt x="444" y="222"/>
                </a:lnTo>
                <a:lnTo>
                  <a:pt x="444" y="216"/>
                </a:lnTo>
                <a:lnTo>
                  <a:pt x="438" y="216"/>
                </a:lnTo>
                <a:lnTo>
                  <a:pt x="444" y="216"/>
                </a:lnTo>
                <a:lnTo>
                  <a:pt x="438" y="216"/>
                </a:lnTo>
                <a:lnTo>
                  <a:pt x="444" y="210"/>
                </a:lnTo>
                <a:lnTo>
                  <a:pt x="438" y="210"/>
                </a:lnTo>
                <a:lnTo>
                  <a:pt x="438" y="204"/>
                </a:lnTo>
                <a:lnTo>
                  <a:pt x="432" y="204"/>
                </a:lnTo>
                <a:lnTo>
                  <a:pt x="438" y="192"/>
                </a:lnTo>
                <a:lnTo>
                  <a:pt x="444" y="186"/>
                </a:lnTo>
                <a:lnTo>
                  <a:pt x="450" y="180"/>
                </a:lnTo>
                <a:lnTo>
                  <a:pt x="456" y="180"/>
                </a:lnTo>
                <a:lnTo>
                  <a:pt x="456" y="186"/>
                </a:lnTo>
                <a:lnTo>
                  <a:pt x="462" y="186"/>
                </a:lnTo>
                <a:lnTo>
                  <a:pt x="462" y="192"/>
                </a:lnTo>
                <a:lnTo>
                  <a:pt x="468" y="192"/>
                </a:lnTo>
                <a:lnTo>
                  <a:pt x="474" y="192"/>
                </a:lnTo>
                <a:lnTo>
                  <a:pt x="480" y="192"/>
                </a:lnTo>
                <a:lnTo>
                  <a:pt x="486" y="192"/>
                </a:lnTo>
                <a:lnTo>
                  <a:pt x="486" y="198"/>
                </a:lnTo>
                <a:lnTo>
                  <a:pt x="492" y="204"/>
                </a:lnTo>
                <a:lnTo>
                  <a:pt x="498" y="204"/>
                </a:lnTo>
                <a:lnTo>
                  <a:pt x="498" y="210"/>
                </a:lnTo>
                <a:lnTo>
                  <a:pt x="504" y="210"/>
                </a:lnTo>
                <a:lnTo>
                  <a:pt x="504" y="204"/>
                </a:lnTo>
                <a:lnTo>
                  <a:pt x="504" y="198"/>
                </a:lnTo>
                <a:lnTo>
                  <a:pt x="510" y="198"/>
                </a:lnTo>
                <a:lnTo>
                  <a:pt x="516" y="198"/>
                </a:lnTo>
                <a:lnTo>
                  <a:pt x="522" y="198"/>
                </a:lnTo>
                <a:lnTo>
                  <a:pt x="528" y="198"/>
                </a:lnTo>
                <a:lnTo>
                  <a:pt x="528" y="204"/>
                </a:lnTo>
                <a:lnTo>
                  <a:pt x="534" y="204"/>
                </a:lnTo>
                <a:lnTo>
                  <a:pt x="534" y="198"/>
                </a:lnTo>
                <a:lnTo>
                  <a:pt x="540" y="198"/>
                </a:lnTo>
                <a:lnTo>
                  <a:pt x="534" y="198"/>
                </a:lnTo>
                <a:lnTo>
                  <a:pt x="534" y="204"/>
                </a:lnTo>
                <a:lnTo>
                  <a:pt x="534" y="210"/>
                </a:lnTo>
                <a:lnTo>
                  <a:pt x="540" y="210"/>
                </a:lnTo>
                <a:lnTo>
                  <a:pt x="540" y="204"/>
                </a:lnTo>
                <a:lnTo>
                  <a:pt x="546" y="204"/>
                </a:lnTo>
                <a:lnTo>
                  <a:pt x="552" y="204"/>
                </a:lnTo>
                <a:lnTo>
                  <a:pt x="552" y="198"/>
                </a:lnTo>
                <a:lnTo>
                  <a:pt x="552" y="192"/>
                </a:lnTo>
                <a:lnTo>
                  <a:pt x="546" y="192"/>
                </a:lnTo>
                <a:lnTo>
                  <a:pt x="546" y="186"/>
                </a:lnTo>
                <a:lnTo>
                  <a:pt x="546" y="180"/>
                </a:lnTo>
                <a:lnTo>
                  <a:pt x="546" y="174"/>
                </a:lnTo>
                <a:lnTo>
                  <a:pt x="546" y="168"/>
                </a:lnTo>
                <a:lnTo>
                  <a:pt x="552" y="168"/>
                </a:lnTo>
                <a:lnTo>
                  <a:pt x="558" y="168"/>
                </a:lnTo>
                <a:lnTo>
                  <a:pt x="558" y="162"/>
                </a:lnTo>
                <a:lnTo>
                  <a:pt x="564" y="162"/>
                </a:lnTo>
                <a:lnTo>
                  <a:pt x="564" y="156"/>
                </a:lnTo>
                <a:lnTo>
                  <a:pt x="570" y="156"/>
                </a:lnTo>
                <a:lnTo>
                  <a:pt x="570" y="162"/>
                </a:lnTo>
                <a:lnTo>
                  <a:pt x="576" y="162"/>
                </a:lnTo>
                <a:lnTo>
                  <a:pt x="576" y="156"/>
                </a:lnTo>
                <a:lnTo>
                  <a:pt x="570" y="156"/>
                </a:lnTo>
                <a:lnTo>
                  <a:pt x="570" y="150"/>
                </a:lnTo>
                <a:lnTo>
                  <a:pt x="564" y="150"/>
                </a:lnTo>
                <a:lnTo>
                  <a:pt x="564" y="144"/>
                </a:lnTo>
                <a:lnTo>
                  <a:pt x="558" y="144"/>
                </a:lnTo>
                <a:lnTo>
                  <a:pt x="558" y="138"/>
                </a:lnTo>
                <a:lnTo>
                  <a:pt x="564" y="138"/>
                </a:lnTo>
                <a:lnTo>
                  <a:pt x="564" y="132"/>
                </a:lnTo>
                <a:lnTo>
                  <a:pt x="570" y="126"/>
                </a:lnTo>
                <a:lnTo>
                  <a:pt x="576" y="126"/>
                </a:lnTo>
                <a:lnTo>
                  <a:pt x="576" y="120"/>
                </a:lnTo>
                <a:lnTo>
                  <a:pt x="582" y="120"/>
                </a:lnTo>
                <a:lnTo>
                  <a:pt x="576" y="114"/>
                </a:lnTo>
                <a:lnTo>
                  <a:pt x="576" y="108"/>
                </a:lnTo>
                <a:lnTo>
                  <a:pt x="582" y="108"/>
                </a:lnTo>
                <a:lnTo>
                  <a:pt x="588" y="108"/>
                </a:lnTo>
                <a:lnTo>
                  <a:pt x="594" y="108"/>
                </a:lnTo>
                <a:lnTo>
                  <a:pt x="594" y="102"/>
                </a:lnTo>
                <a:lnTo>
                  <a:pt x="600" y="102"/>
                </a:lnTo>
                <a:lnTo>
                  <a:pt x="606" y="102"/>
                </a:lnTo>
                <a:lnTo>
                  <a:pt x="612" y="102"/>
                </a:lnTo>
                <a:lnTo>
                  <a:pt x="618" y="102"/>
                </a:lnTo>
                <a:lnTo>
                  <a:pt x="612" y="102"/>
                </a:lnTo>
                <a:lnTo>
                  <a:pt x="606" y="96"/>
                </a:lnTo>
                <a:lnTo>
                  <a:pt x="600" y="96"/>
                </a:lnTo>
                <a:lnTo>
                  <a:pt x="600" y="90"/>
                </a:lnTo>
                <a:lnTo>
                  <a:pt x="594" y="90"/>
                </a:lnTo>
                <a:lnTo>
                  <a:pt x="594" y="84"/>
                </a:lnTo>
                <a:lnTo>
                  <a:pt x="594" y="78"/>
                </a:lnTo>
                <a:lnTo>
                  <a:pt x="594" y="72"/>
                </a:lnTo>
                <a:lnTo>
                  <a:pt x="594" y="66"/>
                </a:lnTo>
                <a:lnTo>
                  <a:pt x="600" y="66"/>
                </a:lnTo>
                <a:lnTo>
                  <a:pt x="600" y="60"/>
                </a:lnTo>
                <a:lnTo>
                  <a:pt x="600" y="54"/>
                </a:lnTo>
                <a:lnTo>
                  <a:pt x="606" y="54"/>
                </a:lnTo>
                <a:lnTo>
                  <a:pt x="612" y="54"/>
                </a:lnTo>
                <a:lnTo>
                  <a:pt x="612" y="48"/>
                </a:lnTo>
                <a:lnTo>
                  <a:pt x="612" y="42"/>
                </a:lnTo>
                <a:lnTo>
                  <a:pt x="618" y="36"/>
                </a:lnTo>
                <a:lnTo>
                  <a:pt x="606" y="18"/>
                </a:lnTo>
                <a:lnTo>
                  <a:pt x="612" y="12"/>
                </a:lnTo>
                <a:lnTo>
                  <a:pt x="612" y="6"/>
                </a:lnTo>
                <a:lnTo>
                  <a:pt x="618" y="0"/>
                </a:lnTo>
                <a:lnTo>
                  <a:pt x="624" y="0"/>
                </a:lnTo>
                <a:lnTo>
                  <a:pt x="630" y="6"/>
                </a:lnTo>
                <a:lnTo>
                  <a:pt x="636" y="6"/>
                </a:lnTo>
                <a:lnTo>
                  <a:pt x="642" y="12"/>
                </a:lnTo>
                <a:lnTo>
                  <a:pt x="648" y="12"/>
                </a:lnTo>
                <a:lnTo>
                  <a:pt x="654" y="12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6" name="Freeform 22">
            <a:extLst>
              <a:ext uri="{FF2B5EF4-FFF2-40B4-BE49-F238E27FC236}">
                <a16:creationId xmlns:a16="http://schemas.microsoft.com/office/drawing/2014/main" id="{69F1B12D-2AD1-491C-A60B-82F2870EA4B6}"/>
              </a:ext>
            </a:extLst>
          </p:cNvPr>
          <p:cNvSpPr>
            <a:spLocks/>
          </p:cNvSpPr>
          <p:nvPr/>
        </p:nvSpPr>
        <p:spPr bwMode="gray">
          <a:xfrm rot="533595">
            <a:off x="7029692" y="2131639"/>
            <a:ext cx="1083120" cy="1376505"/>
          </a:xfrm>
          <a:custGeom>
            <a:avLst/>
            <a:gdLst>
              <a:gd name="T0" fmla="*/ 834 w 1194"/>
              <a:gd name="T1" fmla="*/ 1602 h 1626"/>
              <a:gd name="T2" fmla="*/ 762 w 1194"/>
              <a:gd name="T3" fmla="*/ 1566 h 1626"/>
              <a:gd name="T4" fmla="*/ 696 w 1194"/>
              <a:gd name="T5" fmla="*/ 1584 h 1626"/>
              <a:gd name="T6" fmla="*/ 636 w 1194"/>
              <a:gd name="T7" fmla="*/ 1578 h 1626"/>
              <a:gd name="T8" fmla="*/ 576 w 1194"/>
              <a:gd name="T9" fmla="*/ 1554 h 1626"/>
              <a:gd name="T10" fmla="*/ 558 w 1194"/>
              <a:gd name="T11" fmla="*/ 1500 h 1626"/>
              <a:gd name="T12" fmla="*/ 510 w 1194"/>
              <a:gd name="T13" fmla="*/ 1446 h 1626"/>
              <a:gd name="T14" fmla="*/ 504 w 1194"/>
              <a:gd name="T15" fmla="*/ 1392 h 1626"/>
              <a:gd name="T16" fmla="*/ 492 w 1194"/>
              <a:gd name="T17" fmla="*/ 1302 h 1626"/>
              <a:gd name="T18" fmla="*/ 438 w 1194"/>
              <a:gd name="T19" fmla="*/ 1320 h 1626"/>
              <a:gd name="T20" fmla="*/ 408 w 1194"/>
              <a:gd name="T21" fmla="*/ 1302 h 1626"/>
              <a:gd name="T22" fmla="*/ 408 w 1194"/>
              <a:gd name="T23" fmla="*/ 1254 h 1626"/>
              <a:gd name="T24" fmla="*/ 366 w 1194"/>
              <a:gd name="T25" fmla="*/ 1230 h 1626"/>
              <a:gd name="T26" fmla="*/ 306 w 1194"/>
              <a:gd name="T27" fmla="*/ 1272 h 1626"/>
              <a:gd name="T28" fmla="*/ 264 w 1194"/>
              <a:gd name="T29" fmla="*/ 1242 h 1626"/>
              <a:gd name="T30" fmla="*/ 252 w 1194"/>
              <a:gd name="T31" fmla="*/ 1200 h 1626"/>
              <a:gd name="T32" fmla="*/ 198 w 1194"/>
              <a:gd name="T33" fmla="*/ 1170 h 1626"/>
              <a:gd name="T34" fmla="*/ 210 w 1194"/>
              <a:gd name="T35" fmla="*/ 1128 h 1626"/>
              <a:gd name="T36" fmla="*/ 168 w 1194"/>
              <a:gd name="T37" fmla="*/ 1116 h 1626"/>
              <a:gd name="T38" fmla="*/ 108 w 1194"/>
              <a:gd name="T39" fmla="*/ 1092 h 1626"/>
              <a:gd name="T40" fmla="*/ 66 w 1194"/>
              <a:gd name="T41" fmla="*/ 1026 h 1626"/>
              <a:gd name="T42" fmla="*/ 54 w 1194"/>
              <a:gd name="T43" fmla="*/ 972 h 1626"/>
              <a:gd name="T44" fmla="*/ 78 w 1194"/>
              <a:gd name="T45" fmla="*/ 942 h 1626"/>
              <a:gd name="T46" fmla="*/ 42 w 1194"/>
              <a:gd name="T47" fmla="*/ 912 h 1626"/>
              <a:gd name="T48" fmla="*/ 24 w 1194"/>
              <a:gd name="T49" fmla="*/ 870 h 1626"/>
              <a:gd name="T50" fmla="*/ 12 w 1194"/>
              <a:gd name="T51" fmla="*/ 828 h 1626"/>
              <a:gd name="T52" fmla="*/ 78 w 1194"/>
              <a:gd name="T53" fmla="*/ 804 h 1626"/>
              <a:gd name="T54" fmla="*/ 144 w 1194"/>
              <a:gd name="T55" fmla="*/ 798 h 1626"/>
              <a:gd name="T56" fmla="*/ 186 w 1194"/>
              <a:gd name="T57" fmla="*/ 768 h 1626"/>
              <a:gd name="T58" fmla="*/ 240 w 1194"/>
              <a:gd name="T59" fmla="*/ 732 h 1626"/>
              <a:gd name="T60" fmla="*/ 288 w 1194"/>
              <a:gd name="T61" fmla="*/ 672 h 1626"/>
              <a:gd name="T62" fmla="*/ 342 w 1194"/>
              <a:gd name="T63" fmla="*/ 612 h 1626"/>
              <a:gd name="T64" fmla="*/ 378 w 1194"/>
              <a:gd name="T65" fmla="*/ 582 h 1626"/>
              <a:gd name="T66" fmla="*/ 432 w 1194"/>
              <a:gd name="T67" fmla="*/ 552 h 1626"/>
              <a:gd name="T68" fmla="*/ 468 w 1194"/>
              <a:gd name="T69" fmla="*/ 516 h 1626"/>
              <a:gd name="T70" fmla="*/ 492 w 1194"/>
              <a:gd name="T71" fmla="*/ 432 h 1626"/>
              <a:gd name="T72" fmla="*/ 456 w 1194"/>
              <a:gd name="T73" fmla="*/ 366 h 1626"/>
              <a:gd name="T74" fmla="*/ 414 w 1194"/>
              <a:gd name="T75" fmla="*/ 306 h 1626"/>
              <a:gd name="T76" fmla="*/ 396 w 1194"/>
              <a:gd name="T77" fmla="*/ 258 h 1626"/>
              <a:gd name="T78" fmla="*/ 342 w 1194"/>
              <a:gd name="T79" fmla="*/ 228 h 1626"/>
              <a:gd name="T80" fmla="*/ 306 w 1194"/>
              <a:gd name="T81" fmla="*/ 186 h 1626"/>
              <a:gd name="T82" fmla="*/ 342 w 1194"/>
              <a:gd name="T83" fmla="*/ 132 h 1626"/>
              <a:gd name="T84" fmla="*/ 402 w 1194"/>
              <a:gd name="T85" fmla="*/ 108 h 1626"/>
              <a:gd name="T86" fmla="*/ 426 w 1194"/>
              <a:gd name="T87" fmla="*/ 66 h 1626"/>
              <a:gd name="T88" fmla="*/ 480 w 1194"/>
              <a:gd name="T89" fmla="*/ 6 h 1626"/>
              <a:gd name="T90" fmla="*/ 558 w 1194"/>
              <a:gd name="T91" fmla="*/ 60 h 1626"/>
              <a:gd name="T92" fmla="*/ 642 w 1194"/>
              <a:gd name="T93" fmla="*/ 84 h 1626"/>
              <a:gd name="T94" fmla="*/ 720 w 1194"/>
              <a:gd name="T95" fmla="*/ 114 h 1626"/>
              <a:gd name="T96" fmla="*/ 780 w 1194"/>
              <a:gd name="T97" fmla="*/ 162 h 1626"/>
              <a:gd name="T98" fmla="*/ 804 w 1194"/>
              <a:gd name="T99" fmla="*/ 252 h 1626"/>
              <a:gd name="T100" fmla="*/ 816 w 1194"/>
              <a:gd name="T101" fmla="*/ 318 h 1626"/>
              <a:gd name="T102" fmla="*/ 846 w 1194"/>
              <a:gd name="T103" fmla="*/ 396 h 1626"/>
              <a:gd name="T104" fmla="*/ 936 w 1194"/>
              <a:gd name="T105" fmla="*/ 600 h 1626"/>
              <a:gd name="T106" fmla="*/ 1044 w 1194"/>
              <a:gd name="T107" fmla="*/ 798 h 1626"/>
              <a:gd name="T108" fmla="*/ 1110 w 1194"/>
              <a:gd name="T109" fmla="*/ 864 h 1626"/>
              <a:gd name="T110" fmla="*/ 1110 w 1194"/>
              <a:gd name="T111" fmla="*/ 930 h 1626"/>
              <a:gd name="T112" fmla="*/ 1140 w 1194"/>
              <a:gd name="T113" fmla="*/ 984 h 1626"/>
              <a:gd name="T114" fmla="*/ 1176 w 1194"/>
              <a:gd name="T115" fmla="*/ 1140 h 1626"/>
              <a:gd name="T116" fmla="*/ 1128 w 1194"/>
              <a:gd name="T117" fmla="*/ 1308 h 1626"/>
              <a:gd name="T118" fmla="*/ 1014 w 1194"/>
              <a:gd name="T119" fmla="*/ 1368 h 1626"/>
              <a:gd name="T120" fmla="*/ 930 w 1194"/>
              <a:gd name="T121" fmla="*/ 1524 h 16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194" h="1626">
                <a:moveTo>
                  <a:pt x="900" y="1620"/>
                </a:moveTo>
                <a:lnTo>
                  <a:pt x="894" y="1620"/>
                </a:lnTo>
                <a:lnTo>
                  <a:pt x="888" y="1620"/>
                </a:lnTo>
                <a:lnTo>
                  <a:pt x="882" y="1614"/>
                </a:lnTo>
                <a:lnTo>
                  <a:pt x="876" y="1614"/>
                </a:lnTo>
                <a:lnTo>
                  <a:pt x="870" y="1608"/>
                </a:lnTo>
                <a:lnTo>
                  <a:pt x="864" y="1608"/>
                </a:lnTo>
                <a:lnTo>
                  <a:pt x="858" y="1614"/>
                </a:lnTo>
                <a:lnTo>
                  <a:pt x="858" y="1620"/>
                </a:lnTo>
                <a:lnTo>
                  <a:pt x="852" y="1626"/>
                </a:lnTo>
                <a:lnTo>
                  <a:pt x="846" y="1626"/>
                </a:lnTo>
                <a:lnTo>
                  <a:pt x="840" y="1626"/>
                </a:lnTo>
                <a:lnTo>
                  <a:pt x="840" y="1620"/>
                </a:lnTo>
                <a:lnTo>
                  <a:pt x="840" y="1614"/>
                </a:lnTo>
                <a:lnTo>
                  <a:pt x="840" y="1608"/>
                </a:lnTo>
                <a:lnTo>
                  <a:pt x="834" y="1602"/>
                </a:lnTo>
                <a:lnTo>
                  <a:pt x="834" y="1596"/>
                </a:lnTo>
                <a:lnTo>
                  <a:pt x="828" y="1596"/>
                </a:lnTo>
                <a:lnTo>
                  <a:pt x="828" y="1590"/>
                </a:lnTo>
                <a:lnTo>
                  <a:pt x="822" y="1590"/>
                </a:lnTo>
                <a:lnTo>
                  <a:pt x="816" y="1590"/>
                </a:lnTo>
                <a:lnTo>
                  <a:pt x="810" y="1590"/>
                </a:lnTo>
                <a:lnTo>
                  <a:pt x="804" y="1590"/>
                </a:lnTo>
                <a:lnTo>
                  <a:pt x="804" y="1584"/>
                </a:lnTo>
                <a:lnTo>
                  <a:pt x="798" y="1584"/>
                </a:lnTo>
                <a:lnTo>
                  <a:pt x="792" y="1578"/>
                </a:lnTo>
                <a:lnTo>
                  <a:pt x="792" y="1572"/>
                </a:lnTo>
                <a:lnTo>
                  <a:pt x="786" y="1572"/>
                </a:lnTo>
                <a:lnTo>
                  <a:pt x="780" y="1566"/>
                </a:lnTo>
                <a:lnTo>
                  <a:pt x="774" y="1566"/>
                </a:lnTo>
                <a:lnTo>
                  <a:pt x="768" y="1566"/>
                </a:lnTo>
                <a:lnTo>
                  <a:pt x="762" y="1566"/>
                </a:lnTo>
                <a:lnTo>
                  <a:pt x="762" y="1572"/>
                </a:lnTo>
                <a:lnTo>
                  <a:pt x="756" y="1578"/>
                </a:lnTo>
                <a:lnTo>
                  <a:pt x="750" y="1578"/>
                </a:lnTo>
                <a:lnTo>
                  <a:pt x="744" y="1578"/>
                </a:lnTo>
                <a:lnTo>
                  <a:pt x="744" y="1584"/>
                </a:lnTo>
                <a:lnTo>
                  <a:pt x="744" y="1578"/>
                </a:lnTo>
                <a:lnTo>
                  <a:pt x="738" y="1578"/>
                </a:lnTo>
                <a:lnTo>
                  <a:pt x="738" y="1584"/>
                </a:lnTo>
                <a:lnTo>
                  <a:pt x="732" y="1584"/>
                </a:lnTo>
                <a:lnTo>
                  <a:pt x="726" y="1584"/>
                </a:lnTo>
                <a:lnTo>
                  <a:pt x="720" y="1584"/>
                </a:lnTo>
                <a:lnTo>
                  <a:pt x="714" y="1584"/>
                </a:lnTo>
                <a:lnTo>
                  <a:pt x="708" y="1578"/>
                </a:lnTo>
                <a:lnTo>
                  <a:pt x="702" y="1578"/>
                </a:lnTo>
                <a:lnTo>
                  <a:pt x="702" y="1584"/>
                </a:lnTo>
                <a:lnTo>
                  <a:pt x="696" y="1584"/>
                </a:lnTo>
                <a:lnTo>
                  <a:pt x="690" y="1584"/>
                </a:lnTo>
                <a:lnTo>
                  <a:pt x="690" y="1578"/>
                </a:lnTo>
                <a:lnTo>
                  <a:pt x="684" y="1578"/>
                </a:lnTo>
                <a:lnTo>
                  <a:pt x="678" y="1578"/>
                </a:lnTo>
                <a:lnTo>
                  <a:pt x="678" y="1584"/>
                </a:lnTo>
                <a:lnTo>
                  <a:pt x="678" y="1590"/>
                </a:lnTo>
                <a:lnTo>
                  <a:pt x="672" y="1590"/>
                </a:lnTo>
                <a:lnTo>
                  <a:pt x="672" y="1584"/>
                </a:lnTo>
                <a:lnTo>
                  <a:pt x="672" y="1578"/>
                </a:lnTo>
                <a:lnTo>
                  <a:pt x="666" y="1578"/>
                </a:lnTo>
                <a:lnTo>
                  <a:pt x="660" y="1572"/>
                </a:lnTo>
                <a:lnTo>
                  <a:pt x="654" y="1572"/>
                </a:lnTo>
                <a:lnTo>
                  <a:pt x="648" y="1578"/>
                </a:lnTo>
                <a:lnTo>
                  <a:pt x="642" y="1584"/>
                </a:lnTo>
                <a:lnTo>
                  <a:pt x="642" y="1578"/>
                </a:lnTo>
                <a:lnTo>
                  <a:pt x="636" y="1578"/>
                </a:lnTo>
                <a:lnTo>
                  <a:pt x="630" y="1578"/>
                </a:lnTo>
                <a:lnTo>
                  <a:pt x="630" y="1584"/>
                </a:lnTo>
                <a:lnTo>
                  <a:pt x="624" y="1578"/>
                </a:lnTo>
                <a:lnTo>
                  <a:pt x="618" y="1584"/>
                </a:lnTo>
                <a:lnTo>
                  <a:pt x="618" y="1578"/>
                </a:lnTo>
                <a:lnTo>
                  <a:pt x="612" y="1578"/>
                </a:lnTo>
                <a:lnTo>
                  <a:pt x="606" y="1578"/>
                </a:lnTo>
                <a:lnTo>
                  <a:pt x="600" y="1584"/>
                </a:lnTo>
                <a:lnTo>
                  <a:pt x="600" y="1578"/>
                </a:lnTo>
                <a:lnTo>
                  <a:pt x="594" y="1578"/>
                </a:lnTo>
                <a:lnTo>
                  <a:pt x="588" y="1572"/>
                </a:lnTo>
                <a:lnTo>
                  <a:pt x="588" y="1566"/>
                </a:lnTo>
                <a:lnTo>
                  <a:pt x="582" y="1566"/>
                </a:lnTo>
                <a:lnTo>
                  <a:pt x="576" y="1566"/>
                </a:lnTo>
                <a:lnTo>
                  <a:pt x="576" y="1560"/>
                </a:lnTo>
                <a:lnTo>
                  <a:pt x="576" y="1554"/>
                </a:lnTo>
                <a:lnTo>
                  <a:pt x="576" y="1548"/>
                </a:lnTo>
                <a:lnTo>
                  <a:pt x="576" y="1542"/>
                </a:lnTo>
                <a:lnTo>
                  <a:pt x="576" y="1536"/>
                </a:lnTo>
                <a:lnTo>
                  <a:pt x="576" y="1530"/>
                </a:lnTo>
                <a:lnTo>
                  <a:pt x="582" y="1530"/>
                </a:lnTo>
                <a:lnTo>
                  <a:pt x="576" y="1530"/>
                </a:lnTo>
                <a:lnTo>
                  <a:pt x="570" y="1530"/>
                </a:lnTo>
                <a:lnTo>
                  <a:pt x="570" y="1536"/>
                </a:lnTo>
                <a:lnTo>
                  <a:pt x="570" y="1530"/>
                </a:lnTo>
                <a:lnTo>
                  <a:pt x="564" y="1530"/>
                </a:lnTo>
                <a:lnTo>
                  <a:pt x="564" y="1524"/>
                </a:lnTo>
                <a:lnTo>
                  <a:pt x="558" y="1524"/>
                </a:lnTo>
                <a:lnTo>
                  <a:pt x="558" y="1518"/>
                </a:lnTo>
                <a:lnTo>
                  <a:pt x="558" y="1512"/>
                </a:lnTo>
                <a:lnTo>
                  <a:pt x="558" y="1506"/>
                </a:lnTo>
                <a:lnTo>
                  <a:pt x="558" y="1500"/>
                </a:lnTo>
                <a:lnTo>
                  <a:pt x="558" y="1494"/>
                </a:lnTo>
                <a:lnTo>
                  <a:pt x="558" y="1488"/>
                </a:lnTo>
                <a:lnTo>
                  <a:pt x="552" y="1488"/>
                </a:lnTo>
                <a:lnTo>
                  <a:pt x="552" y="1482"/>
                </a:lnTo>
                <a:lnTo>
                  <a:pt x="546" y="1482"/>
                </a:lnTo>
                <a:lnTo>
                  <a:pt x="546" y="1476"/>
                </a:lnTo>
                <a:lnTo>
                  <a:pt x="540" y="1476"/>
                </a:lnTo>
                <a:lnTo>
                  <a:pt x="540" y="1470"/>
                </a:lnTo>
                <a:lnTo>
                  <a:pt x="534" y="1470"/>
                </a:lnTo>
                <a:lnTo>
                  <a:pt x="534" y="1464"/>
                </a:lnTo>
                <a:lnTo>
                  <a:pt x="534" y="1458"/>
                </a:lnTo>
                <a:lnTo>
                  <a:pt x="528" y="1458"/>
                </a:lnTo>
                <a:lnTo>
                  <a:pt x="522" y="1458"/>
                </a:lnTo>
                <a:lnTo>
                  <a:pt x="522" y="1452"/>
                </a:lnTo>
                <a:lnTo>
                  <a:pt x="516" y="1446"/>
                </a:lnTo>
                <a:lnTo>
                  <a:pt x="510" y="1446"/>
                </a:lnTo>
                <a:lnTo>
                  <a:pt x="510" y="1440"/>
                </a:lnTo>
                <a:lnTo>
                  <a:pt x="504" y="1440"/>
                </a:lnTo>
                <a:lnTo>
                  <a:pt x="498" y="1440"/>
                </a:lnTo>
                <a:lnTo>
                  <a:pt x="498" y="1434"/>
                </a:lnTo>
                <a:lnTo>
                  <a:pt x="492" y="1434"/>
                </a:lnTo>
                <a:lnTo>
                  <a:pt x="492" y="1428"/>
                </a:lnTo>
                <a:lnTo>
                  <a:pt x="498" y="1428"/>
                </a:lnTo>
                <a:lnTo>
                  <a:pt x="498" y="1422"/>
                </a:lnTo>
                <a:lnTo>
                  <a:pt x="504" y="1416"/>
                </a:lnTo>
                <a:lnTo>
                  <a:pt x="510" y="1416"/>
                </a:lnTo>
                <a:lnTo>
                  <a:pt x="510" y="1410"/>
                </a:lnTo>
                <a:lnTo>
                  <a:pt x="504" y="1404"/>
                </a:lnTo>
                <a:lnTo>
                  <a:pt x="510" y="1404"/>
                </a:lnTo>
                <a:lnTo>
                  <a:pt x="510" y="1398"/>
                </a:lnTo>
                <a:lnTo>
                  <a:pt x="510" y="1392"/>
                </a:lnTo>
                <a:lnTo>
                  <a:pt x="504" y="1392"/>
                </a:lnTo>
                <a:lnTo>
                  <a:pt x="498" y="1386"/>
                </a:lnTo>
                <a:lnTo>
                  <a:pt x="498" y="1380"/>
                </a:lnTo>
                <a:lnTo>
                  <a:pt x="498" y="1374"/>
                </a:lnTo>
                <a:lnTo>
                  <a:pt x="498" y="1368"/>
                </a:lnTo>
                <a:lnTo>
                  <a:pt x="492" y="1368"/>
                </a:lnTo>
                <a:lnTo>
                  <a:pt x="492" y="1362"/>
                </a:lnTo>
                <a:lnTo>
                  <a:pt x="492" y="1356"/>
                </a:lnTo>
                <a:lnTo>
                  <a:pt x="492" y="1350"/>
                </a:lnTo>
                <a:lnTo>
                  <a:pt x="492" y="1344"/>
                </a:lnTo>
                <a:lnTo>
                  <a:pt x="492" y="1338"/>
                </a:lnTo>
                <a:lnTo>
                  <a:pt x="492" y="1332"/>
                </a:lnTo>
                <a:lnTo>
                  <a:pt x="492" y="1326"/>
                </a:lnTo>
                <a:lnTo>
                  <a:pt x="492" y="1320"/>
                </a:lnTo>
                <a:lnTo>
                  <a:pt x="492" y="1314"/>
                </a:lnTo>
                <a:lnTo>
                  <a:pt x="492" y="1308"/>
                </a:lnTo>
                <a:lnTo>
                  <a:pt x="492" y="1302"/>
                </a:lnTo>
                <a:lnTo>
                  <a:pt x="492" y="1296"/>
                </a:lnTo>
                <a:lnTo>
                  <a:pt x="486" y="1296"/>
                </a:lnTo>
                <a:lnTo>
                  <a:pt x="486" y="1290"/>
                </a:lnTo>
                <a:lnTo>
                  <a:pt x="480" y="1290"/>
                </a:lnTo>
                <a:lnTo>
                  <a:pt x="474" y="1290"/>
                </a:lnTo>
                <a:lnTo>
                  <a:pt x="468" y="1290"/>
                </a:lnTo>
                <a:lnTo>
                  <a:pt x="462" y="1290"/>
                </a:lnTo>
                <a:lnTo>
                  <a:pt x="456" y="1290"/>
                </a:lnTo>
                <a:lnTo>
                  <a:pt x="456" y="1296"/>
                </a:lnTo>
                <a:lnTo>
                  <a:pt x="456" y="1302"/>
                </a:lnTo>
                <a:lnTo>
                  <a:pt x="450" y="1302"/>
                </a:lnTo>
                <a:lnTo>
                  <a:pt x="444" y="1302"/>
                </a:lnTo>
                <a:lnTo>
                  <a:pt x="438" y="1302"/>
                </a:lnTo>
                <a:lnTo>
                  <a:pt x="438" y="1308"/>
                </a:lnTo>
                <a:lnTo>
                  <a:pt x="438" y="1314"/>
                </a:lnTo>
                <a:lnTo>
                  <a:pt x="438" y="1320"/>
                </a:lnTo>
                <a:lnTo>
                  <a:pt x="444" y="1320"/>
                </a:lnTo>
                <a:lnTo>
                  <a:pt x="438" y="1320"/>
                </a:lnTo>
                <a:lnTo>
                  <a:pt x="438" y="1326"/>
                </a:lnTo>
                <a:lnTo>
                  <a:pt x="438" y="1320"/>
                </a:lnTo>
                <a:lnTo>
                  <a:pt x="438" y="1326"/>
                </a:lnTo>
                <a:lnTo>
                  <a:pt x="432" y="1326"/>
                </a:lnTo>
                <a:lnTo>
                  <a:pt x="432" y="1320"/>
                </a:lnTo>
                <a:lnTo>
                  <a:pt x="432" y="1314"/>
                </a:lnTo>
                <a:lnTo>
                  <a:pt x="426" y="1314"/>
                </a:lnTo>
                <a:lnTo>
                  <a:pt x="426" y="1308"/>
                </a:lnTo>
                <a:lnTo>
                  <a:pt x="432" y="1302"/>
                </a:lnTo>
                <a:lnTo>
                  <a:pt x="426" y="1302"/>
                </a:lnTo>
                <a:lnTo>
                  <a:pt x="420" y="1302"/>
                </a:lnTo>
                <a:lnTo>
                  <a:pt x="414" y="1308"/>
                </a:lnTo>
                <a:lnTo>
                  <a:pt x="408" y="1308"/>
                </a:lnTo>
                <a:lnTo>
                  <a:pt x="408" y="1302"/>
                </a:lnTo>
                <a:lnTo>
                  <a:pt x="402" y="1296"/>
                </a:lnTo>
                <a:lnTo>
                  <a:pt x="402" y="1290"/>
                </a:lnTo>
                <a:lnTo>
                  <a:pt x="396" y="1290"/>
                </a:lnTo>
                <a:lnTo>
                  <a:pt x="396" y="1284"/>
                </a:lnTo>
                <a:lnTo>
                  <a:pt x="390" y="1278"/>
                </a:lnTo>
                <a:lnTo>
                  <a:pt x="390" y="1272"/>
                </a:lnTo>
                <a:lnTo>
                  <a:pt x="384" y="1272"/>
                </a:lnTo>
                <a:lnTo>
                  <a:pt x="384" y="1266"/>
                </a:lnTo>
                <a:lnTo>
                  <a:pt x="390" y="1266"/>
                </a:lnTo>
                <a:lnTo>
                  <a:pt x="390" y="1260"/>
                </a:lnTo>
                <a:lnTo>
                  <a:pt x="396" y="1260"/>
                </a:lnTo>
                <a:lnTo>
                  <a:pt x="396" y="1266"/>
                </a:lnTo>
                <a:lnTo>
                  <a:pt x="402" y="1266"/>
                </a:lnTo>
                <a:lnTo>
                  <a:pt x="408" y="1266"/>
                </a:lnTo>
                <a:lnTo>
                  <a:pt x="408" y="1260"/>
                </a:lnTo>
                <a:lnTo>
                  <a:pt x="408" y="1254"/>
                </a:lnTo>
                <a:lnTo>
                  <a:pt x="408" y="1248"/>
                </a:lnTo>
                <a:lnTo>
                  <a:pt x="402" y="1248"/>
                </a:lnTo>
                <a:lnTo>
                  <a:pt x="402" y="1254"/>
                </a:lnTo>
                <a:lnTo>
                  <a:pt x="396" y="1254"/>
                </a:lnTo>
                <a:lnTo>
                  <a:pt x="396" y="1248"/>
                </a:lnTo>
                <a:lnTo>
                  <a:pt x="396" y="1242"/>
                </a:lnTo>
                <a:lnTo>
                  <a:pt x="402" y="1236"/>
                </a:lnTo>
                <a:lnTo>
                  <a:pt x="396" y="1236"/>
                </a:lnTo>
                <a:lnTo>
                  <a:pt x="396" y="1230"/>
                </a:lnTo>
                <a:lnTo>
                  <a:pt x="396" y="1224"/>
                </a:lnTo>
                <a:lnTo>
                  <a:pt x="390" y="1230"/>
                </a:lnTo>
                <a:lnTo>
                  <a:pt x="384" y="1230"/>
                </a:lnTo>
                <a:lnTo>
                  <a:pt x="384" y="1236"/>
                </a:lnTo>
                <a:lnTo>
                  <a:pt x="378" y="1236"/>
                </a:lnTo>
                <a:lnTo>
                  <a:pt x="372" y="1236"/>
                </a:lnTo>
                <a:lnTo>
                  <a:pt x="366" y="1230"/>
                </a:lnTo>
                <a:lnTo>
                  <a:pt x="366" y="1236"/>
                </a:lnTo>
                <a:lnTo>
                  <a:pt x="360" y="1236"/>
                </a:lnTo>
                <a:lnTo>
                  <a:pt x="360" y="1248"/>
                </a:lnTo>
                <a:lnTo>
                  <a:pt x="366" y="1254"/>
                </a:lnTo>
                <a:lnTo>
                  <a:pt x="360" y="1254"/>
                </a:lnTo>
                <a:lnTo>
                  <a:pt x="348" y="1254"/>
                </a:lnTo>
                <a:lnTo>
                  <a:pt x="348" y="1260"/>
                </a:lnTo>
                <a:lnTo>
                  <a:pt x="342" y="1260"/>
                </a:lnTo>
                <a:lnTo>
                  <a:pt x="336" y="1266"/>
                </a:lnTo>
                <a:lnTo>
                  <a:pt x="330" y="1266"/>
                </a:lnTo>
                <a:lnTo>
                  <a:pt x="330" y="1272"/>
                </a:lnTo>
                <a:lnTo>
                  <a:pt x="324" y="1272"/>
                </a:lnTo>
                <a:lnTo>
                  <a:pt x="318" y="1266"/>
                </a:lnTo>
                <a:lnTo>
                  <a:pt x="312" y="1260"/>
                </a:lnTo>
                <a:lnTo>
                  <a:pt x="312" y="1266"/>
                </a:lnTo>
                <a:lnTo>
                  <a:pt x="306" y="1272"/>
                </a:lnTo>
                <a:lnTo>
                  <a:pt x="306" y="1278"/>
                </a:lnTo>
                <a:lnTo>
                  <a:pt x="300" y="1272"/>
                </a:lnTo>
                <a:lnTo>
                  <a:pt x="294" y="1272"/>
                </a:lnTo>
                <a:lnTo>
                  <a:pt x="288" y="1272"/>
                </a:lnTo>
                <a:lnTo>
                  <a:pt x="282" y="1272"/>
                </a:lnTo>
                <a:lnTo>
                  <a:pt x="282" y="1266"/>
                </a:lnTo>
                <a:lnTo>
                  <a:pt x="276" y="1260"/>
                </a:lnTo>
                <a:lnTo>
                  <a:pt x="282" y="1260"/>
                </a:lnTo>
                <a:lnTo>
                  <a:pt x="282" y="1254"/>
                </a:lnTo>
                <a:lnTo>
                  <a:pt x="282" y="1248"/>
                </a:lnTo>
                <a:lnTo>
                  <a:pt x="276" y="1248"/>
                </a:lnTo>
                <a:lnTo>
                  <a:pt x="270" y="1254"/>
                </a:lnTo>
                <a:lnTo>
                  <a:pt x="270" y="1260"/>
                </a:lnTo>
                <a:lnTo>
                  <a:pt x="264" y="1254"/>
                </a:lnTo>
                <a:lnTo>
                  <a:pt x="264" y="1248"/>
                </a:lnTo>
                <a:lnTo>
                  <a:pt x="264" y="1242"/>
                </a:lnTo>
                <a:lnTo>
                  <a:pt x="264" y="1236"/>
                </a:lnTo>
                <a:lnTo>
                  <a:pt x="264" y="1230"/>
                </a:lnTo>
                <a:lnTo>
                  <a:pt x="258" y="1230"/>
                </a:lnTo>
                <a:lnTo>
                  <a:pt x="258" y="1224"/>
                </a:lnTo>
                <a:lnTo>
                  <a:pt x="252" y="1224"/>
                </a:lnTo>
                <a:lnTo>
                  <a:pt x="258" y="1224"/>
                </a:lnTo>
                <a:lnTo>
                  <a:pt x="264" y="1224"/>
                </a:lnTo>
                <a:lnTo>
                  <a:pt x="264" y="1218"/>
                </a:lnTo>
                <a:lnTo>
                  <a:pt x="270" y="1212"/>
                </a:lnTo>
                <a:lnTo>
                  <a:pt x="264" y="1212"/>
                </a:lnTo>
                <a:lnTo>
                  <a:pt x="264" y="1206"/>
                </a:lnTo>
                <a:lnTo>
                  <a:pt x="264" y="1200"/>
                </a:lnTo>
                <a:lnTo>
                  <a:pt x="258" y="1200"/>
                </a:lnTo>
                <a:lnTo>
                  <a:pt x="258" y="1194"/>
                </a:lnTo>
                <a:lnTo>
                  <a:pt x="252" y="1194"/>
                </a:lnTo>
                <a:lnTo>
                  <a:pt x="252" y="1200"/>
                </a:lnTo>
                <a:lnTo>
                  <a:pt x="252" y="1194"/>
                </a:lnTo>
                <a:lnTo>
                  <a:pt x="252" y="1188"/>
                </a:lnTo>
                <a:lnTo>
                  <a:pt x="252" y="1182"/>
                </a:lnTo>
                <a:lnTo>
                  <a:pt x="246" y="1182"/>
                </a:lnTo>
                <a:lnTo>
                  <a:pt x="240" y="1182"/>
                </a:lnTo>
                <a:lnTo>
                  <a:pt x="234" y="1182"/>
                </a:lnTo>
                <a:lnTo>
                  <a:pt x="234" y="1176"/>
                </a:lnTo>
                <a:lnTo>
                  <a:pt x="228" y="1176"/>
                </a:lnTo>
                <a:lnTo>
                  <a:pt x="222" y="1176"/>
                </a:lnTo>
                <a:lnTo>
                  <a:pt x="222" y="1182"/>
                </a:lnTo>
                <a:lnTo>
                  <a:pt x="216" y="1182"/>
                </a:lnTo>
                <a:lnTo>
                  <a:pt x="216" y="1176"/>
                </a:lnTo>
                <a:lnTo>
                  <a:pt x="210" y="1176"/>
                </a:lnTo>
                <a:lnTo>
                  <a:pt x="210" y="1170"/>
                </a:lnTo>
                <a:lnTo>
                  <a:pt x="204" y="1170"/>
                </a:lnTo>
                <a:lnTo>
                  <a:pt x="198" y="1170"/>
                </a:lnTo>
                <a:lnTo>
                  <a:pt x="192" y="1164"/>
                </a:lnTo>
                <a:lnTo>
                  <a:pt x="192" y="1158"/>
                </a:lnTo>
                <a:lnTo>
                  <a:pt x="186" y="1158"/>
                </a:lnTo>
                <a:lnTo>
                  <a:pt x="192" y="1158"/>
                </a:lnTo>
                <a:lnTo>
                  <a:pt x="192" y="1152"/>
                </a:lnTo>
                <a:lnTo>
                  <a:pt x="192" y="1146"/>
                </a:lnTo>
                <a:lnTo>
                  <a:pt x="198" y="1146"/>
                </a:lnTo>
                <a:lnTo>
                  <a:pt x="198" y="1140"/>
                </a:lnTo>
                <a:lnTo>
                  <a:pt x="198" y="1134"/>
                </a:lnTo>
                <a:lnTo>
                  <a:pt x="198" y="1140"/>
                </a:lnTo>
                <a:lnTo>
                  <a:pt x="204" y="1140"/>
                </a:lnTo>
                <a:lnTo>
                  <a:pt x="210" y="1140"/>
                </a:lnTo>
                <a:lnTo>
                  <a:pt x="216" y="1140"/>
                </a:lnTo>
                <a:lnTo>
                  <a:pt x="216" y="1134"/>
                </a:lnTo>
                <a:lnTo>
                  <a:pt x="210" y="1134"/>
                </a:lnTo>
                <a:lnTo>
                  <a:pt x="210" y="1128"/>
                </a:lnTo>
                <a:lnTo>
                  <a:pt x="204" y="1128"/>
                </a:lnTo>
                <a:lnTo>
                  <a:pt x="204" y="1122"/>
                </a:lnTo>
                <a:lnTo>
                  <a:pt x="210" y="1122"/>
                </a:lnTo>
                <a:lnTo>
                  <a:pt x="210" y="1116"/>
                </a:lnTo>
                <a:lnTo>
                  <a:pt x="210" y="1110"/>
                </a:lnTo>
                <a:lnTo>
                  <a:pt x="204" y="1104"/>
                </a:lnTo>
                <a:lnTo>
                  <a:pt x="198" y="1104"/>
                </a:lnTo>
                <a:lnTo>
                  <a:pt x="198" y="1110"/>
                </a:lnTo>
                <a:lnTo>
                  <a:pt x="198" y="1116"/>
                </a:lnTo>
                <a:lnTo>
                  <a:pt x="192" y="1116"/>
                </a:lnTo>
                <a:lnTo>
                  <a:pt x="192" y="1122"/>
                </a:lnTo>
                <a:lnTo>
                  <a:pt x="186" y="1122"/>
                </a:lnTo>
                <a:lnTo>
                  <a:pt x="180" y="1128"/>
                </a:lnTo>
                <a:lnTo>
                  <a:pt x="174" y="1122"/>
                </a:lnTo>
                <a:lnTo>
                  <a:pt x="174" y="1116"/>
                </a:lnTo>
                <a:lnTo>
                  <a:pt x="168" y="1116"/>
                </a:lnTo>
                <a:lnTo>
                  <a:pt x="162" y="1116"/>
                </a:lnTo>
                <a:lnTo>
                  <a:pt x="162" y="1110"/>
                </a:lnTo>
                <a:lnTo>
                  <a:pt x="156" y="1104"/>
                </a:lnTo>
                <a:lnTo>
                  <a:pt x="156" y="1098"/>
                </a:lnTo>
                <a:lnTo>
                  <a:pt x="150" y="1098"/>
                </a:lnTo>
                <a:lnTo>
                  <a:pt x="150" y="1092"/>
                </a:lnTo>
                <a:lnTo>
                  <a:pt x="144" y="1092"/>
                </a:lnTo>
                <a:lnTo>
                  <a:pt x="144" y="1086"/>
                </a:lnTo>
                <a:lnTo>
                  <a:pt x="138" y="1086"/>
                </a:lnTo>
                <a:lnTo>
                  <a:pt x="138" y="1092"/>
                </a:lnTo>
                <a:lnTo>
                  <a:pt x="132" y="1092"/>
                </a:lnTo>
                <a:lnTo>
                  <a:pt x="126" y="1092"/>
                </a:lnTo>
                <a:lnTo>
                  <a:pt x="120" y="1092"/>
                </a:lnTo>
                <a:lnTo>
                  <a:pt x="114" y="1098"/>
                </a:lnTo>
                <a:lnTo>
                  <a:pt x="108" y="1098"/>
                </a:lnTo>
                <a:lnTo>
                  <a:pt x="108" y="1092"/>
                </a:lnTo>
                <a:lnTo>
                  <a:pt x="102" y="1092"/>
                </a:lnTo>
                <a:lnTo>
                  <a:pt x="96" y="1086"/>
                </a:lnTo>
                <a:lnTo>
                  <a:pt x="90" y="1080"/>
                </a:lnTo>
                <a:lnTo>
                  <a:pt x="90" y="1074"/>
                </a:lnTo>
                <a:lnTo>
                  <a:pt x="84" y="1068"/>
                </a:lnTo>
                <a:lnTo>
                  <a:pt x="90" y="1068"/>
                </a:lnTo>
                <a:lnTo>
                  <a:pt x="90" y="1062"/>
                </a:lnTo>
                <a:lnTo>
                  <a:pt x="90" y="1056"/>
                </a:lnTo>
                <a:lnTo>
                  <a:pt x="90" y="1050"/>
                </a:lnTo>
                <a:lnTo>
                  <a:pt x="84" y="1050"/>
                </a:lnTo>
                <a:lnTo>
                  <a:pt x="78" y="1044"/>
                </a:lnTo>
                <a:lnTo>
                  <a:pt x="78" y="1038"/>
                </a:lnTo>
                <a:lnTo>
                  <a:pt x="72" y="1038"/>
                </a:lnTo>
                <a:lnTo>
                  <a:pt x="72" y="1032"/>
                </a:lnTo>
                <a:lnTo>
                  <a:pt x="72" y="1026"/>
                </a:lnTo>
                <a:lnTo>
                  <a:pt x="66" y="1026"/>
                </a:lnTo>
                <a:lnTo>
                  <a:pt x="72" y="1020"/>
                </a:lnTo>
                <a:lnTo>
                  <a:pt x="78" y="1020"/>
                </a:lnTo>
                <a:lnTo>
                  <a:pt x="72" y="1020"/>
                </a:lnTo>
                <a:lnTo>
                  <a:pt x="72" y="1014"/>
                </a:lnTo>
                <a:lnTo>
                  <a:pt x="66" y="1014"/>
                </a:lnTo>
                <a:lnTo>
                  <a:pt x="66" y="1008"/>
                </a:lnTo>
                <a:lnTo>
                  <a:pt x="60" y="1008"/>
                </a:lnTo>
                <a:lnTo>
                  <a:pt x="60" y="1002"/>
                </a:lnTo>
                <a:lnTo>
                  <a:pt x="60" y="996"/>
                </a:lnTo>
                <a:lnTo>
                  <a:pt x="54" y="996"/>
                </a:lnTo>
                <a:lnTo>
                  <a:pt x="48" y="996"/>
                </a:lnTo>
                <a:lnTo>
                  <a:pt x="48" y="990"/>
                </a:lnTo>
                <a:lnTo>
                  <a:pt x="42" y="984"/>
                </a:lnTo>
                <a:lnTo>
                  <a:pt x="54" y="984"/>
                </a:lnTo>
                <a:lnTo>
                  <a:pt x="54" y="978"/>
                </a:lnTo>
                <a:lnTo>
                  <a:pt x="54" y="972"/>
                </a:lnTo>
                <a:lnTo>
                  <a:pt x="54" y="966"/>
                </a:lnTo>
                <a:lnTo>
                  <a:pt x="48" y="966"/>
                </a:lnTo>
                <a:lnTo>
                  <a:pt x="48" y="960"/>
                </a:lnTo>
                <a:lnTo>
                  <a:pt x="54" y="960"/>
                </a:lnTo>
                <a:lnTo>
                  <a:pt x="54" y="954"/>
                </a:lnTo>
                <a:lnTo>
                  <a:pt x="54" y="948"/>
                </a:lnTo>
                <a:lnTo>
                  <a:pt x="48" y="948"/>
                </a:lnTo>
                <a:lnTo>
                  <a:pt x="48" y="942"/>
                </a:lnTo>
                <a:lnTo>
                  <a:pt x="54" y="942"/>
                </a:lnTo>
                <a:lnTo>
                  <a:pt x="60" y="942"/>
                </a:lnTo>
                <a:lnTo>
                  <a:pt x="60" y="948"/>
                </a:lnTo>
                <a:lnTo>
                  <a:pt x="66" y="948"/>
                </a:lnTo>
                <a:lnTo>
                  <a:pt x="66" y="942"/>
                </a:lnTo>
                <a:lnTo>
                  <a:pt x="72" y="942"/>
                </a:lnTo>
                <a:lnTo>
                  <a:pt x="72" y="948"/>
                </a:lnTo>
                <a:lnTo>
                  <a:pt x="78" y="942"/>
                </a:lnTo>
                <a:lnTo>
                  <a:pt x="84" y="942"/>
                </a:lnTo>
                <a:lnTo>
                  <a:pt x="84" y="936"/>
                </a:lnTo>
                <a:lnTo>
                  <a:pt x="78" y="936"/>
                </a:lnTo>
                <a:lnTo>
                  <a:pt x="72" y="936"/>
                </a:lnTo>
                <a:lnTo>
                  <a:pt x="72" y="930"/>
                </a:lnTo>
                <a:lnTo>
                  <a:pt x="66" y="930"/>
                </a:lnTo>
                <a:lnTo>
                  <a:pt x="66" y="924"/>
                </a:lnTo>
                <a:lnTo>
                  <a:pt x="60" y="924"/>
                </a:lnTo>
                <a:lnTo>
                  <a:pt x="54" y="924"/>
                </a:lnTo>
                <a:lnTo>
                  <a:pt x="54" y="930"/>
                </a:lnTo>
                <a:lnTo>
                  <a:pt x="48" y="930"/>
                </a:lnTo>
                <a:lnTo>
                  <a:pt x="42" y="924"/>
                </a:lnTo>
                <a:lnTo>
                  <a:pt x="54" y="924"/>
                </a:lnTo>
                <a:lnTo>
                  <a:pt x="48" y="918"/>
                </a:lnTo>
                <a:lnTo>
                  <a:pt x="42" y="918"/>
                </a:lnTo>
                <a:lnTo>
                  <a:pt x="42" y="912"/>
                </a:lnTo>
                <a:lnTo>
                  <a:pt x="48" y="912"/>
                </a:lnTo>
                <a:lnTo>
                  <a:pt x="48" y="906"/>
                </a:lnTo>
                <a:lnTo>
                  <a:pt x="54" y="906"/>
                </a:lnTo>
                <a:lnTo>
                  <a:pt x="54" y="900"/>
                </a:lnTo>
                <a:lnTo>
                  <a:pt x="48" y="900"/>
                </a:lnTo>
                <a:lnTo>
                  <a:pt x="48" y="894"/>
                </a:lnTo>
                <a:lnTo>
                  <a:pt x="42" y="900"/>
                </a:lnTo>
                <a:lnTo>
                  <a:pt x="42" y="894"/>
                </a:lnTo>
                <a:lnTo>
                  <a:pt x="42" y="888"/>
                </a:lnTo>
                <a:lnTo>
                  <a:pt x="42" y="882"/>
                </a:lnTo>
                <a:lnTo>
                  <a:pt x="36" y="882"/>
                </a:lnTo>
                <a:lnTo>
                  <a:pt x="30" y="876"/>
                </a:lnTo>
                <a:lnTo>
                  <a:pt x="30" y="870"/>
                </a:lnTo>
                <a:lnTo>
                  <a:pt x="24" y="870"/>
                </a:lnTo>
                <a:lnTo>
                  <a:pt x="24" y="876"/>
                </a:lnTo>
                <a:lnTo>
                  <a:pt x="24" y="870"/>
                </a:lnTo>
                <a:lnTo>
                  <a:pt x="24" y="864"/>
                </a:lnTo>
                <a:lnTo>
                  <a:pt x="24" y="858"/>
                </a:lnTo>
                <a:lnTo>
                  <a:pt x="18" y="858"/>
                </a:lnTo>
                <a:lnTo>
                  <a:pt x="18" y="852"/>
                </a:lnTo>
                <a:lnTo>
                  <a:pt x="12" y="852"/>
                </a:lnTo>
                <a:lnTo>
                  <a:pt x="12" y="846"/>
                </a:lnTo>
                <a:lnTo>
                  <a:pt x="6" y="846"/>
                </a:lnTo>
                <a:lnTo>
                  <a:pt x="12" y="840"/>
                </a:lnTo>
                <a:lnTo>
                  <a:pt x="6" y="840"/>
                </a:lnTo>
                <a:lnTo>
                  <a:pt x="6" y="834"/>
                </a:lnTo>
                <a:lnTo>
                  <a:pt x="0" y="834"/>
                </a:lnTo>
                <a:lnTo>
                  <a:pt x="6" y="834"/>
                </a:lnTo>
                <a:lnTo>
                  <a:pt x="6" y="828"/>
                </a:lnTo>
                <a:lnTo>
                  <a:pt x="6" y="834"/>
                </a:lnTo>
                <a:lnTo>
                  <a:pt x="12" y="834"/>
                </a:lnTo>
                <a:lnTo>
                  <a:pt x="12" y="828"/>
                </a:lnTo>
                <a:lnTo>
                  <a:pt x="6" y="828"/>
                </a:lnTo>
                <a:lnTo>
                  <a:pt x="6" y="822"/>
                </a:lnTo>
                <a:lnTo>
                  <a:pt x="6" y="816"/>
                </a:lnTo>
                <a:lnTo>
                  <a:pt x="12" y="816"/>
                </a:lnTo>
                <a:lnTo>
                  <a:pt x="18" y="816"/>
                </a:lnTo>
                <a:lnTo>
                  <a:pt x="24" y="816"/>
                </a:lnTo>
                <a:lnTo>
                  <a:pt x="30" y="810"/>
                </a:lnTo>
                <a:lnTo>
                  <a:pt x="36" y="810"/>
                </a:lnTo>
                <a:lnTo>
                  <a:pt x="36" y="804"/>
                </a:lnTo>
                <a:lnTo>
                  <a:pt x="42" y="804"/>
                </a:lnTo>
                <a:lnTo>
                  <a:pt x="48" y="804"/>
                </a:lnTo>
                <a:lnTo>
                  <a:pt x="54" y="804"/>
                </a:lnTo>
                <a:lnTo>
                  <a:pt x="60" y="804"/>
                </a:lnTo>
                <a:lnTo>
                  <a:pt x="66" y="804"/>
                </a:lnTo>
                <a:lnTo>
                  <a:pt x="72" y="804"/>
                </a:lnTo>
                <a:lnTo>
                  <a:pt x="78" y="804"/>
                </a:lnTo>
                <a:lnTo>
                  <a:pt x="84" y="804"/>
                </a:lnTo>
                <a:lnTo>
                  <a:pt x="90" y="804"/>
                </a:lnTo>
                <a:lnTo>
                  <a:pt x="96" y="804"/>
                </a:lnTo>
                <a:lnTo>
                  <a:pt x="96" y="810"/>
                </a:lnTo>
                <a:lnTo>
                  <a:pt x="102" y="810"/>
                </a:lnTo>
                <a:lnTo>
                  <a:pt x="108" y="810"/>
                </a:lnTo>
                <a:lnTo>
                  <a:pt x="108" y="816"/>
                </a:lnTo>
                <a:lnTo>
                  <a:pt x="114" y="816"/>
                </a:lnTo>
                <a:lnTo>
                  <a:pt x="120" y="816"/>
                </a:lnTo>
                <a:lnTo>
                  <a:pt x="126" y="816"/>
                </a:lnTo>
                <a:lnTo>
                  <a:pt x="132" y="810"/>
                </a:lnTo>
                <a:lnTo>
                  <a:pt x="132" y="816"/>
                </a:lnTo>
                <a:lnTo>
                  <a:pt x="138" y="810"/>
                </a:lnTo>
                <a:lnTo>
                  <a:pt x="138" y="804"/>
                </a:lnTo>
                <a:lnTo>
                  <a:pt x="138" y="798"/>
                </a:lnTo>
                <a:lnTo>
                  <a:pt x="144" y="798"/>
                </a:lnTo>
                <a:lnTo>
                  <a:pt x="144" y="792"/>
                </a:lnTo>
                <a:lnTo>
                  <a:pt x="138" y="786"/>
                </a:lnTo>
                <a:lnTo>
                  <a:pt x="144" y="786"/>
                </a:lnTo>
                <a:lnTo>
                  <a:pt x="144" y="780"/>
                </a:lnTo>
                <a:lnTo>
                  <a:pt x="150" y="774"/>
                </a:lnTo>
                <a:lnTo>
                  <a:pt x="156" y="768"/>
                </a:lnTo>
                <a:lnTo>
                  <a:pt x="156" y="774"/>
                </a:lnTo>
                <a:lnTo>
                  <a:pt x="162" y="774"/>
                </a:lnTo>
                <a:lnTo>
                  <a:pt x="162" y="768"/>
                </a:lnTo>
                <a:lnTo>
                  <a:pt x="168" y="768"/>
                </a:lnTo>
                <a:lnTo>
                  <a:pt x="174" y="762"/>
                </a:lnTo>
                <a:lnTo>
                  <a:pt x="174" y="756"/>
                </a:lnTo>
                <a:lnTo>
                  <a:pt x="174" y="762"/>
                </a:lnTo>
                <a:lnTo>
                  <a:pt x="180" y="762"/>
                </a:lnTo>
                <a:lnTo>
                  <a:pt x="186" y="762"/>
                </a:lnTo>
                <a:lnTo>
                  <a:pt x="186" y="768"/>
                </a:lnTo>
                <a:lnTo>
                  <a:pt x="192" y="768"/>
                </a:lnTo>
                <a:lnTo>
                  <a:pt x="192" y="774"/>
                </a:lnTo>
                <a:lnTo>
                  <a:pt x="198" y="774"/>
                </a:lnTo>
                <a:lnTo>
                  <a:pt x="198" y="768"/>
                </a:lnTo>
                <a:lnTo>
                  <a:pt x="204" y="768"/>
                </a:lnTo>
                <a:lnTo>
                  <a:pt x="204" y="762"/>
                </a:lnTo>
                <a:lnTo>
                  <a:pt x="204" y="756"/>
                </a:lnTo>
                <a:lnTo>
                  <a:pt x="204" y="750"/>
                </a:lnTo>
                <a:lnTo>
                  <a:pt x="204" y="744"/>
                </a:lnTo>
                <a:lnTo>
                  <a:pt x="210" y="744"/>
                </a:lnTo>
                <a:lnTo>
                  <a:pt x="216" y="744"/>
                </a:lnTo>
                <a:lnTo>
                  <a:pt x="216" y="738"/>
                </a:lnTo>
                <a:lnTo>
                  <a:pt x="222" y="738"/>
                </a:lnTo>
                <a:lnTo>
                  <a:pt x="228" y="738"/>
                </a:lnTo>
                <a:lnTo>
                  <a:pt x="234" y="732"/>
                </a:lnTo>
                <a:lnTo>
                  <a:pt x="240" y="732"/>
                </a:lnTo>
                <a:lnTo>
                  <a:pt x="240" y="726"/>
                </a:lnTo>
                <a:lnTo>
                  <a:pt x="246" y="726"/>
                </a:lnTo>
                <a:lnTo>
                  <a:pt x="246" y="720"/>
                </a:lnTo>
                <a:lnTo>
                  <a:pt x="252" y="720"/>
                </a:lnTo>
                <a:lnTo>
                  <a:pt x="252" y="714"/>
                </a:lnTo>
                <a:lnTo>
                  <a:pt x="258" y="714"/>
                </a:lnTo>
                <a:lnTo>
                  <a:pt x="264" y="708"/>
                </a:lnTo>
                <a:lnTo>
                  <a:pt x="264" y="702"/>
                </a:lnTo>
                <a:lnTo>
                  <a:pt x="270" y="702"/>
                </a:lnTo>
                <a:lnTo>
                  <a:pt x="270" y="696"/>
                </a:lnTo>
                <a:lnTo>
                  <a:pt x="276" y="696"/>
                </a:lnTo>
                <a:lnTo>
                  <a:pt x="276" y="690"/>
                </a:lnTo>
                <a:lnTo>
                  <a:pt x="282" y="684"/>
                </a:lnTo>
                <a:lnTo>
                  <a:pt x="282" y="678"/>
                </a:lnTo>
                <a:lnTo>
                  <a:pt x="288" y="678"/>
                </a:lnTo>
                <a:lnTo>
                  <a:pt x="288" y="672"/>
                </a:lnTo>
                <a:lnTo>
                  <a:pt x="294" y="666"/>
                </a:lnTo>
                <a:lnTo>
                  <a:pt x="294" y="660"/>
                </a:lnTo>
                <a:lnTo>
                  <a:pt x="300" y="654"/>
                </a:lnTo>
                <a:lnTo>
                  <a:pt x="306" y="654"/>
                </a:lnTo>
                <a:lnTo>
                  <a:pt x="306" y="648"/>
                </a:lnTo>
                <a:lnTo>
                  <a:pt x="312" y="642"/>
                </a:lnTo>
                <a:lnTo>
                  <a:pt x="318" y="642"/>
                </a:lnTo>
                <a:lnTo>
                  <a:pt x="318" y="636"/>
                </a:lnTo>
                <a:lnTo>
                  <a:pt x="324" y="630"/>
                </a:lnTo>
                <a:lnTo>
                  <a:pt x="324" y="624"/>
                </a:lnTo>
                <a:lnTo>
                  <a:pt x="330" y="624"/>
                </a:lnTo>
                <a:lnTo>
                  <a:pt x="330" y="618"/>
                </a:lnTo>
                <a:lnTo>
                  <a:pt x="330" y="624"/>
                </a:lnTo>
                <a:lnTo>
                  <a:pt x="336" y="618"/>
                </a:lnTo>
                <a:lnTo>
                  <a:pt x="336" y="612"/>
                </a:lnTo>
                <a:lnTo>
                  <a:pt x="342" y="612"/>
                </a:lnTo>
                <a:lnTo>
                  <a:pt x="342" y="606"/>
                </a:lnTo>
                <a:lnTo>
                  <a:pt x="342" y="612"/>
                </a:lnTo>
                <a:lnTo>
                  <a:pt x="354" y="600"/>
                </a:lnTo>
                <a:lnTo>
                  <a:pt x="366" y="600"/>
                </a:lnTo>
                <a:lnTo>
                  <a:pt x="360" y="606"/>
                </a:lnTo>
                <a:lnTo>
                  <a:pt x="366" y="606"/>
                </a:lnTo>
                <a:lnTo>
                  <a:pt x="366" y="612"/>
                </a:lnTo>
                <a:lnTo>
                  <a:pt x="372" y="612"/>
                </a:lnTo>
                <a:lnTo>
                  <a:pt x="372" y="606"/>
                </a:lnTo>
                <a:lnTo>
                  <a:pt x="378" y="606"/>
                </a:lnTo>
                <a:lnTo>
                  <a:pt x="378" y="600"/>
                </a:lnTo>
                <a:lnTo>
                  <a:pt x="378" y="594"/>
                </a:lnTo>
                <a:lnTo>
                  <a:pt x="372" y="594"/>
                </a:lnTo>
                <a:lnTo>
                  <a:pt x="372" y="588"/>
                </a:lnTo>
                <a:lnTo>
                  <a:pt x="372" y="582"/>
                </a:lnTo>
                <a:lnTo>
                  <a:pt x="378" y="582"/>
                </a:lnTo>
                <a:lnTo>
                  <a:pt x="372" y="582"/>
                </a:lnTo>
                <a:lnTo>
                  <a:pt x="372" y="576"/>
                </a:lnTo>
                <a:lnTo>
                  <a:pt x="384" y="576"/>
                </a:lnTo>
                <a:lnTo>
                  <a:pt x="390" y="576"/>
                </a:lnTo>
                <a:lnTo>
                  <a:pt x="396" y="576"/>
                </a:lnTo>
                <a:lnTo>
                  <a:pt x="402" y="570"/>
                </a:lnTo>
                <a:lnTo>
                  <a:pt x="402" y="564"/>
                </a:lnTo>
                <a:lnTo>
                  <a:pt x="408" y="558"/>
                </a:lnTo>
                <a:lnTo>
                  <a:pt x="414" y="558"/>
                </a:lnTo>
                <a:lnTo>
                  <a:pt x="414" y="552"/>
                </a:lnTo>
                <a:lnTo>
                  <a:pt x="420" y="552"/>
                </a:lnTo>
                <a:lnTo>
                  <a:pt x="420" y="546"/>
                </a:lnTo>
                <a:lnTo>
                  <a:pt x="426" y="552"/>
                </a:lnTo>
                <a:lnTo>
                  <a:pt x="426" y="558"/>
                </a:lnTo>
                <a:lnTo>
                  <a:pt x="432" y="558"/>
                </a:lnTo>
                <a:lnTo>
                  <a:pt x="432" y="552"/>
                </a:lnTo>
                <a:lnTo>
                  <a:pt x="432" y="546"/>
                </a:lnTo>
                <a:lnTo>
                  <a:pt x="438" y="546"/>
                </a:lnTo>
                <a:lnTo>
                  <a:pt x="438" y="540"/>
                </a:lnTo>
                <a:lnTo>
                  <a:pt x="438" y="534"/>
                </a:lnTo>
                <a:lnTo>
                  <a:pt x="438" y="528"/>
                </a:lnTo>
                <a:lnTo>
                  <a:pt x="438" y="522"/>
                </a:lnTo>
                <a:lnTo>
                  <a:pt x="444" y="522"/>
                </a:lnTo>
                <a:lnTo>
                  <a:pt x="444" y="528"/>
                </a:lnTo>
                <a:lnTo>
                  <a:pt x="450" y="528"/>
                </a:lnTo>
                <a:lnTo>
                  <a:pt x="450" y="522"/>
                </a:lnTo>
                <a:lnTo>
                  <a:pt x="456" y="522"/>
                </a:lnTo>
                <a:lnTo>
                  <a:pt x="462" y="522"/>
                </a:lnTo>
                <a:lnTo>
                  <a:pt x="462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16"/>
                </a:lnTo>
                <a:lnTo>
                  <a:pt x="468" y="510"/>
                </a:lnTo>
                <a:lnTo>
                  <a:pt x="468" y="504"/>
                </a:lnTo>
                <a:lnTo>
                  <a:pt x="468" y="498"/>
                </a:lnTo>
                <a:lnTo>
                  <a:pt x="474" y="498"/>
                </a:lnTo>
                <a:lnTo>
                  <a:pt x="474" y="492"/>
                </a:lnTo>
                <a:lnTo>
                  <a:pt x="474" y="486"/>
                </a:lnTo>
                <a:lnTo>
                  <a:pt x="474" y="480"/>
                </a:lnTo>
                <a:lnTo>
                  <a:pt x="474" y="474"/>
                </a:lnTo>
                <a:lnTo>
                  <a:pt x="474" y="468"/>
                </a:lnTo>
                <a:lnTo>
                  <a:pt x="474" y="462"/>
                </a:lnTo>
                <a:lnTo>
                  <a:pt x="474" y="456"/>
                </a:lnTo>
                <a:lnTo>
                  <a:pt x="474" y="450"/>
                </a:lnTo>
                <a:lnTo>
                  <a:pt x="480" y="444"/>
                </a:lnTo>
                <a:lnTo>
                  <a:pt x="486" y="438"/>
                </a:lnTo>
                <a:lnTo>
                  <a:pt x="486" y="432"/>
                </a:lnTo>
                <a:lnTo>
                  <a:pt x="492" y="432"/>
                </a:lnTo>
                <a:lnTo>
                  <a:pt x="492" y="426"/>
                </a:lnTo>
                <a:lnTo>
                  <a:pt x="492" y="420"/>
                </a:lnTo>
                <a:lnTo>
                  <a:pt x="492" y="414"/>
                </a:lnTo>
                <a:lnTo>
                  <a:pt x="492" y="408"/>
                </a:lnTo>
                <a:lnTo>
                  <a:pt x="486" y="408"/>
                </a:lnTo>
                <a:lnTo>
                  <a:pt x="486" y="402"/>
                </a:lnTo>
                <a:lnTo>
                  <a:pt x="486" y="396"/>
                </a:lnTo>
                <a:lnTo>
                  <a:pt x="486" y="390"/>
                </a:lnTo>
                <a:lnTo>
                  <a:pt x="480" y="384"/>
                </a:lnTo>
                <a:lnTo>
                  <a:pt x="480" y="378"/>
                </a:lnTo>
                <a:lnTo>
                  <a:pt x="474" y="378"/>
                </a:lnTo>
                <a:lnTo>
                  <a:pt x="474" y="372"/>
                </a:lnTo>
                <a:lnTo>
                  <a:pt x="468" y="372"/>
                </a:lnTo>
                <a:lnTo>
                  <a:pt x="468" y="366"/>
                </a:lnTo>
                <a:lnTo>
                  <a:pt x="462" y="366"/>
                </a:lnTo>
                <a:lnTo>
                  <a:pt x="456" y="366"/>
                </a:lnTo>
                <a:lnTo>
                  <a:pt x="450" y="366"/>
                </a:lnTo>
                <a:lnTo>
                  <a:pt x="450" y="360"/>
                </a:lnTo>
                <a:lnTo>
                  <a:pt x="450" y="354"/>
                </a:lnTo>
                <a:lnTo>
                  <a:pt x="444" y="354"/>
                </a:lnTo>
                <a:lnTo>
                  <a:pt x="444" y="348"/>
                </a:lnTo>
                <a:lnTo>
                  <a:pt x="438" y="348"/>
                </a:lnTo>
                <a:lnTo>
                  <a:pt x="438" y="342"/>
                </a:lnTo>
                <a:lnTo>
                  <a:pt x="438" y="336"/>
                </a:lnTo>
                <a:lnTo>
                  <a:pt x="432" y="336"/>
                </a:lnTo>
                <a:lnTo>
                  <a:pt x="432" y="330"/>
                </a:lnTo>
                <a:lnTo>
                  <a:pt x="426" y="330"/>
                </a:lnTo>
                <a:lnTo>
                  <a:pt x="426" y="324"/>
                </a:lnTo>
                <a:lnTo>
                  <a:pt x="420" y="318"/>
                </a:lnTo>
                <a:lnTo>
                  <a:pt x="420" y="312"/>
                </a:lnTo>
                <a:lnTo>
                  <a:pt x="414" y="312"/>
                </a:lnTo>
                <a:lnTo>
                  <a:pt x="414" y="306"/>
                </a:lnTo>
                <a:lnTo>
                  <a:pt x="408" y="306"/>
                </a:lnTo>
                <a:lnTo>
                  <a:pt x="402" y="300"/>
                </a:lnTo>
                <a:lnTo>
                  <a:pt x="396" y="300"/>
                </a:lnTo>
                <a:lnTo>
                  <a:pt x="390" y="300"/>
                </a:lnTo>
                <a:lnTo>
                  <a:pt x="384" y="300"/>
                </a:lnTo>
                <a:lnTo>
                  <a:pt x="384" y="294"/>
                </a:lnTo>
                <a:lnTo>
                  <a:pt x="378" y="294"/>
                </a:lnTo>
                <a:lnTo>
                  <a:pt x="378" y="288"/>
                </a:lnTo>
                <a:lnTo>
                  <a:pt x="384" y="288"/>
                </a:lnTo>
                <a:lnTo>
                  <a:pt x="384" y="282"/>
                </a:lnTo>
                <a:lnTo>
                  <a:pt x="384" y="276"/>
                </a:lnTo>
                <a:lnTo>
                  <a:pt x="384" y="270"/>
                </a:lnTo>
                <a:lnTo>
                  <a:pt x="390" y="270"/>
                </a:lnTo>
                <a:lnTo>
                  <a:pt x="390" y="264"/>
                </a:lnTo>
                <a:lnTo>
                  <a:pt x="396" y="264"/>
                </a:lnTo>
                <a:lnTo>
                  <a:pt x="396" y="258"/>
                </a:lnTo>
                <a:lnTo>
                  <a:pt x="390" y="252"/>
                </a:lnTo>
                <a:lnTo>
                  <a:pt x="384" y="252"/>
                </a:lnTo>
                <a:lnTo>
                  <a:pt x="384" y="246"/>
                </a:lnTo>
                <a:lnTo>
                  <a:pt x="378" y="246"/>
                </a:lnTo>
                <a:lnTo>
                  <a:pt x="378" y="240"/>
                </a:lnTo>
                <a:lnTo>
                  <a:pt x="372" y="240"/>
                </a:lnTo>
                <a:lnTo>
                  <a:pt x="372" y="234"/>
                </a:lnTo>
                <a:lnTo>
                  <a:pt x="366" y="228"/>
                </a:lnTo>
                <a:lnTo>
                  <a:pt x="366" y="222"/>
                </a:lnTo>
                <a:lnTo>
                  <a:pt x="360" y="228"/>
                </a:lnTo>
                <a:lnTo>
                  <a:pt x="360" y="234"/>
                </a:lnTo>
                <a:lnTo>
                  <a:pt x="348" y="234"/>
                </a:lnTo>
                <a:lnTo>
                  <a:pt x="348" y="228"/>
                </a:lnTo>
                <a:lnTo>
                  <a:pt x="342" y="228"/>
                </a:lnTo>
                <a:lnTo>
                  <a:pt x="342" y="234"/>
                </a:lnTo>
                <a:lnTo>
                  <a:pt x="342" y="228"/>
                </a:lnTo>
                <a:lnTo>
                  <a:pt x="342" y="222"/>
                </a:lnTo>
                <a:lnTo>
                  <a:pt x="336" y="222"/>
                </a:lnTo>
                <a:lnTo>
                  <a:pt x="330" y="222"/>
                </a:lnTo>
                <a:lnTo>
                  <a:pt x="330" y="216"/>
                </a:lnTo>
                <a:lnTo>
                  <a:pt x="324" y="210"/>
                </a:lnTo>
                <a:lnTo>
                  <a:pt x="318" y="210"/>
                </a:lnTo>
                <a:lnTo>
                  <a:pt x="318" y="204"/>
                </a:lnTo>
                <a:lnTo>
                  <a:pt x="324" y="204"/>
                </a:lnTo>
                <a:lnTo>
                  <a:pt x="324" y="198"/>
                </a:lnTo>
                <a:lnTo>
                  <a:pt x="318" y="198"/>
                </a:lnTo>
                <a:lnTo>
                  <a:pt x="312" y="198"/>
                </a:lnTo>
                <a:lnTo>
                  <a:pt x="306" y="198"/>
                </a:lnTo>
                <a:lnTo>
                  <a:pt x="306" y="192"/>
                </a:lnTo>
                <a:lnTo>
                  <a:pt x="300" y="192"/>
                </a:lnTo>
                <a:lnTo>
                  <a:pt x="300" y="186"/>
                </a:lnTo>
                <a:lnTo>
                  <a:pt x="306" y="186"/>
                </a:lnTo>
                <a:lnTo>
                  <a:pt x="312" y="186"/>
                </a:lnTo>
                <a:lnTo>
                  <a:pt x="312" y="180"/>
                </a:lnTo>
                <a:lnTo>
                  <a:pt x="318" y="180"/>
                </a:lnTo>
                <a:lnTo>
                  <a:pt x="324" y="180"/>
                </a:lnTo>
                <a:lnTo>
                  <a:pt x="324" y="174"/>
                </a:lnTo>
                <a:lnTo>
                  <a:pt x="318" y="168"/>
                </a:lnTo>
                <a:lnTo>
                  <a:pt x="324" y="168"/>
                </a:lnTo>
                <a:lnTo>
                  <a:pt x="324" y="162"/>
                </a:lnTo>
                <a:lnTo>
                  <a:pt x="324" y="156"/>
                </a:lnTo>
                <a:lnTo>
                  <a:pt x="324" y="150"/>
                </a:lnTo>
                <a:lnTo>
                  <a:pt x="330" y="150"/>
                </a:lnTo>
                <a:lnTo>
                  <a:pt x="336" y="150"/>
                </a:lnTo>
                <a:lnTo>
                  <a:pt x="336" y="144"/>
                </a:lnTo>
                <a:lnTo>
                  <a:pt x="342" y="144"/>
                </a:lnTo>
                <a:lnTo>
                  <a:pt x="342" y="138"/>
                </a:lnTo>
                <a:lnTo>
                  <a:pt x="342" y="132"/>
                </a:lnTo>
                <a:lnTo>
                  <a:pt x="342" y="138"/>
                </a:lnTo>
                <a:lnTo>
                  <a:pt x="348" y="138"/>
                </a:lnTo>
                <a:lnTo>
                  <a:pt x="354" y="138"/>
                </a:lnTo>
                <a:lnTo>
                  <a:pt x="360" y="138"/>
                </a:lnTo>
                <a:lnTo>
                  <a:pt x="360" y="132"/>
                </a:lnTo>
                <a:lnTo>
                  <a:pt x="366" y="126"/>
                </a:lnTo>
                <a:lnTo>
                  <a:pt x="366" y="120"/>
                </a:lnTo>
                <a:lnTo>
                  <a:pt x="366" y="114"/>
                </a:lnTo>
                <a:lnTo>
                  <a:pt x="372" y="114"/>
                </a:lnTo>
                <a:lnTo>
                  <a:pt x="378" y="114"/>
                </a:lnTo>
                <a:lnTo>
                  <a:pt x="384" y="114"/>
                </a:lnTo>
                <a:lnTo>
                  <a:pt x="390" y="120"/>
                </a:lnTo>
                <a:lnTo>
                  <a:pt x="396" y="120"/>
                </a:lnTo>
                <a:lnTo>
                  <a:pt x="396" y="114"/>
                </a:lnTo>
                <a:lnTo>
                  <a:pt x="402" y="114"/>
                </a:lnTo>
                <a:lnTo>
                  <a:pt x="402" y="108"/>
                </a:lnTo>
                <a:lnTo>
                  <a:pt x="408" y="108"/>
                </a:lnTo>
                <a:lnTo>
                  <a:pt x="414" y="108"/>
                </a:lnTo>
                <a:lnTo>
                  <a:pt x="414" y="102"/>
                </a:lnTo>
                <a:lnTo>
                  <a:pt x="414" y="96"/>
                </a:lnTo>
                <a:lnTo>
                  <a:pt x="420" y="96"/>
                </a:lnTo>
                <a:lnTo>
                  <a:pt x="420" y="102"/>
                </a:lnTo>
                <a:lnTo>
                  <a:pt x="426" y="102"/>
                </a:lnTo>
                <a:lnTo>
                  <a:pt x="426" y="96"/>
                </a:lnTo>
                <a:lnTo>
                  <a:pt x="432" y="90"/>
                </a:lnTo>
                <a:lnTo>
                  <a:pt x="432" y="84"/>
                </a:lnTo>
                <a:lnTo>
                  <a:pt x="432" y="78"/>
                </a:lnTo>
                <a:lnTo>
                  <a:pt x="432" y="72"/>
                </a:lnTo>
                <a:lnTo>
                  <a:pt x="432" y="66"/>
                </a:lnTo>
                <a:lnTo>
                  <a:pt x="426" y="72"/>
                </a:lnTo>
                <a:lnTo>
                  <a:pt x="420" y="72"/>
                </a:lnTo>
                <a:lnTo>
                  <a:pt x="426" y="66"/>
                </a:lnTo>
                <a:lnTo>
                  <a:pt x="426" y="60"/>
                </a:lnTo>
                <a:lnTo>
                  <a:pt x="432" y="60"/>
                </a:lnTo>
                <a:lnTo>
                  <a:pt x="432" y="54"/>
                </a:lnTo>
                <a:lnTo>
                  <a:pt x="432" y="48"/>
                </a:lnTo>
                <a:lnTo>
                  <a:pt x="426" y="48"/>
                </a:lnTo>
                <a:lnTo>
                  <a:pt x="426" y="42"/>
                </a:lnTo>
                <a:lnTo>
                  <a:pt x="438" y="36"/>
                </a:lnTo>
                <a:lnTo>
                  <a:pt x="438" y="18"/>
                </a:lnTo>
                <a:lnTo>
                  <a:pt x="444" y="6"/>
                </a:lnTo>
                <a:lnTo>
                  <a:pt x="450" y="6"/>
                </a:lnTo>
                <a:lnTo>
                  <a:pt x="450" y="0"/>
                </a:lnTo>
                <a:lnTo>
                  <a:pt x="456" y="0"/>
                </a:lnTo>
                <a:lnTo>
                  <a:pt x="462" y="0"/>
                </a:lnTo>
                <a:lnTo>
                  <a:pt x="468" y="6"/>
                </a:lnTo>
                <a:lnTo>
                  <a:pt x="474" y="6"/>
                </a:lnTo>
                <a:lnTo>
                  <a:pt x="480" y="6"/>
                </a:lnTo>
                <a:lnTo>
                  <a:pt x="486" y="6"/>
                </a:lnTo>
                <a:lnTo>
                  <a:pt x="492" y="6"/>
                </a:lnTo>
                <a:lnTo>
                  <a:pt x="504" y="6"/>
                </a:lnTo>
                <a:lnTo>
                  <a:pt x="510" y="6"/>
                </a:lnTo>
                <a:lnTo>
                  <a:pt x="510" y="12"/>
                </a:lnTo>
                <a:lnTo>
                  <a:pt x="516" y="12"/>
                </a:lnTo>
                <a:lnTo>
                  <a:pt x="522" y="12"/>
                </a:lnTo>
                <a:lnTo>
                  <a:pt x="522" y="18"/>
                </a:lnTo>
                <a:lnTo>
                  <a:pt x="522" y="24"/>
                </a:lnTo>
                <a:lnTo>
                  <a:pt x="522" y="30"/>
                </a:lnTo>
                <a:lnTo>
                  <a:pt x="528" y="30"/>
                </a:lnTo>
                <a:lnTo>
                  <a:pt x="546" y="30"/>
                </a:lnTo>
                <a:lnTo>
                  <a:pt x="552" y="36"/>
                </a:lnTo>
                <a:lnTo>
                  <a:pt x="546" y="42"/>
                </a:lnTo>
                <a:lnTo>
                  <a:pt x="546" y="60"/>
                </a:lnTo>
                <a:lnTo>
                  <a:pt x="558" y="60"/>
                </a:lnTo>
                <a:lnTo>
                  <a:pt x="564" y="66"/>
                </a:lnTo>
                <a:lnTo>
                  <a:pt x="576" y="66"/>
                </a:lnTo>
                <a:lnTo>
                  <a:pt x="576" y="60"/>
                </a:lnTo>
                <a:lnTo>
                  <a:pt x="588" y="54"/>
                </a:lnTo>
                <a:lnTo>
                  <a:pt x="594" y="48"/>
                </a:lnTo>
                <a:lnTo>
                  <a:pt x="600" y="54"/>
                </a:lnTo>
                <a:lnTo>
                  <a:pt x="600" y="66"/>
                </a:lnTo>
                <a:lnTo>
                  <a:pt x="606" y="66"/>
                </a:lnTo>
                <a:lnTo>
                  <a:pt x="612" y="66"/>
                </a:lnTo>
                <a:lnTo>
                  <a:pt x="618" y="66"/>
                </a:lnTo>
                <a:lnTo>
                  <a:pt x="624" y="66"/>
                </a:lnTo>
                <a:lnTo>
                  <a:pt x="624" y="72"/>
                </a:lnTo>
                <a:lnTo>
                  <a:pt x="630" y="72"/>
                </a:lnTo>
                <a:lnTo>
                  <a:pt x="636" y="78"/>
                </a:lnTo>
                <a:lnTo>
                  <a:pt x="636" y="84"/>
                </a:lnTo>
                <a:lnTo>
                  <a:pt x="642" y="84"/>
                </a:lnTo>
                <a:lnTo>
                  <a:pt x="648" y="90"/>
                </a:lnTo>
                <a:lnTo>
                  <a:pt x="654" y="84"/>
                </a:lnTo>
                <a:lnTo>
                  <a:pt x="660" y="84"/>
                </a:lnTo>
                <a:lnTo>
                  <a:pt x="666" y="84"/>
                </a:lnTo>
                <a:lnTo>
                  <a:pt x="672" y="84"/>
                </a:lnTo>
                <a:lnTo>
                  <a:pt x="678" y="84"/>
                </a:lnTo>
                <a:lnTo>
                  <a:pt x="684" y="84"/>
                </a:lnTo>
                <a:lnTo>
                  <a:pt x="690" y="84"/>
                </a:lnTo>
                <a:lnTo>
                  <a:pt x="696" y="84"/>
                </a:lnTo>
                <a:lnTo>
                  <a:pt x="696" y="90"/>
                </a:lnTo>
                <a:lnTo>
                  <a:pt x="702" y="96"/>
                </a:lnTo>
                <a:lnTo>
                  <a:pt x="708" y="96"/>
                </a:lnTo>
                <a:lnTo>
                  <a:pt x="714" y="96"/>
                </a:lnTo>
                <a:lnTo>
                  <a:pt x="714" y="102"/>
                </a:lnTo>
                <a:lnTo>
                  <a:pt x="720" y="108"/>
                </a:lnTo>
                <a:lnTo>
                  <a:pt x="720" y="114"/>
                </a:lnTo>
                <a:lnTo>
                  <a:pt x="726" y="114"/>
                </a:lnTo>
                <a:lnTo>
                  <a:pt x="726" y="120"/>
                </a:lnTo>
                <a:lnTo>
                  <a:pt x="732" y="120"/>
                </a:lnTo>
                <a:lnTo>
                  <a:pt x="732" y="126"/>
                </a:lnTo>
                <a:lnTo>
                  <a:pt x="738" y="126"/>
                </a:lnTo>
                <a:lnTo>
                  <a:pt x="738" y="132"/>
                </a:lnTo>
                <a:lnTo>
                  <a:pt x="744" y="132"/>
                </a:lnTo>
                <a:lnTo>
                  <a:pt x="750" y="132"/>
                </a:lnTo>
                <a:lnTo>
                  <a:pt x="756" y="132"/>
                </a:lnTo>
                <a:lnTo>
                  <a:pt x="756" y="138"/>
                </a:lnTo>
                <a:lnTo>
                  <a:pt x="762" y="138"/>
                </a:lnTo>
                <a:lnTo>
                  <a:pt x="768" y="144"/>
                </a:lnTo>
                <a:lnTo>
                  <a:pt x="768" y="150"/>
                </a:lnTo>
                <a:lnTo>
                  <a:pt x="774" y="156"/>
                </a:lnTo>
                <a:lnTo>
                  <a:pt x="774" y="162"/>
                </a:lnTo>
                <a:lnTo>
                  <a:pt x="780" y="162"/>
                </a:lnTo>
                <a:lnTo>
                  <a:pt x="780" y="174"/>
                </a:lnTo>
                <a:lnTo>
                  <a:pt x="780" y="180"/>
                </a:lnTo>
                <a:lnTo>
                  <a:pt x="786" y="174"/>
                </a:lnTo>
                <a:lnTo>
                  <a:pt x="786" y="180"/>
                </a:lnTo>
                <a:lnTo>
                  <a:pt x="786" y="186"/>
                </a:lnTo>
                <a:lnTo>
                  <a:pt x="792" y="186"/>
                </a:lnTo>
                <a:lnTo>
                  <a:pt x="792" y="192"/>
                </a:lnTo>
                <a:lnTo>
                  <a:pt x="798" y="204"/>
                </a:lnTo>
                <a:lnTo>
                  <a:pt x="804" y="210"/>
                </a:lnTo>
                <a:lnTo>
                  <a:pt x="804" y="216"/>
                </a:lnTo>
                <a:lnTo>
                  <a:pt x="804" y="222"/>
                </a:lnTo>
                <a:lnTo>
                  <a:pt x="804" y="228"/>
                </a:lnTo>
                <a:lnTo>
                  <a:pt x="804" y="234"/>
                </a:lnTo>
                <a:lnTo>
                  <a:pt x="804" y="240"/>
                </a:lnTo>
                <a:lnTo>
                  <a:pt x="804" y="246"/>
                </a:lnTo>
                <a:lnTo>
                  <a:pt x="804" y="252"/>
                </a:lnTo>
                <a:lnTo>
                  <a:pt x="798" y="258"/>
                </a:lnTo>
                <a:lnTo>
                  <a:pt x="792" y="258"/>
                </a:lnTo>
                <a:lnTo>
                  <a:pt x="792" y="264"/>
                </a:lnTo>
                <a:lnTo>
                  <a:pt x="798" y="264"/>
                </a:lnTo>
                <a:lnTo>
                  <a:pt x="792" y="264"/>
                </a:lnTo>
                <a:lnTo>
                  <a:pt x="792" y="270"/>
                </a:lnTo>
                <a:lnTo>
                  <a:pt x="792" y="276"/>
                </a:lnTo>
                <a:lnTo>
                  <a:pt x="798" y="276"/>
                </a:lnTo>
                <a:lnTo>
                  <a:pt x="798" y="282"/>
                </a:lnTo>
                <a:lnTo>
                  <a:pt x="798" y="288"/>
                </a:lnTo>
                <a:lnTo>
                  <a:pt x="804" y="288"/>
                </a:lnTo>
                <a:lnTo>
                  <a:pt x="810" y="288"/>
                </a:lnTo>
                <a:lnTo>
                  <a:pt x="810" y="294"/>
                </a:lnTo>
                <a:lnTo>
                  <a:pt x="816" y="294"/>
                </a:lnTo>
                <a:lnTo>
                  <a:pt x="810" y="294"/>
                </a:lnTo>
                <a:lnTo>
                  <a:pt x="816" y="318"/>
                </a:lnTo>
                <a:lnTo>
                  <a:pt x="816" y="330"/>
                </a:lnTo>
                <a:lnTo>
                  <a:pt x="822" y="342"/>
                </a:lnTo>
                <a:lnTo>
                  <a:pt x="828" y="360"/>
                </a:lnTo>
                <a:lnTo>
                  <a:pt x="828" y="366"/>
                </a:lnTo>
                <a:lnTo>
                  <a:pt x="834" y="366"/>
                </a:lnTo>
                <a:lnTo>
                  <a:pt x="828" y="366"/>
                </a:lnTo>
                <a:lnTo>
                  <a:pt x="834" y="366"/>
                </a:lnTo>
                <a:lnTo>
                  <a:pt x="834" y="372"/>
                </a:lnTo>
                <a:lnTo>
                  <a:pt x="840" y="372"/>
                </a:lnTo>
                <a:lnTo>
                  <a:pt x="846" y="372"/>
                </a:lnTo>
                <a:lnTo>
                  <a:pt x="846" y="378"/>
                </a:lnTo>
                <a:lnTo>
                  <a:pt x="840" y="378"/>
                </a:lnTo>
                <a:lnTo>
                  <a:pt x="846" y="378"/>
                </a:lnTo>
                <a:lnTo>
                  <a:pt x="846" y="384"/>
                </a:lnTo>
                <a:lnTo>
                  <a:pt x="846" y="390"/>
                </a:lnTo>
                <a:lnTo>
                  <a:pt x="846" y="396"/>
                </a:lnTo>
                <a:lnTo>
                  <a:pt x="852" y="414"/>
                </a:lnTo>
                <a:lnTo>
                  <a:pt x="852" y="426"/>
                </a:lnTo>
                <a:lnTo>
                  <a:pt x="858" y="438"/>
                </a:lnTo>
                <a:lnTo>
                  <a:pt x="858" y="444"/>
                </a:lnTo>
                <a:lnTo>
                  <a:pt x="876" y="456"/>
                </a:lnTo>
                <a:lnTo>
                  <a:pt x="876" y="468"/>
                </a:lnTo>
                <a:lnTo>
                  <a:pt x="882" y="474"/>
                </a:lnTo>
                <a:lnTo>
                  <a:pt x="882" y="486"/>
                </a:lnTo>
                <a:lnTo>
                  <a:pt x="888" y="498"/>
                </a:lnTo>
                <a:lnTo>
                  <a:pt x="894" y="510"/>
                </a:lnTo>
                <a:lnTo>
                  <a:pt x="900" y="528"/>
                </a:lnTo>
                <a:lnTo>
                  <a:pt x="912" y="552"/>
                </a:lnTo>
                <a:lnTo>
                  <a:pt x="918" y="564"/>
                </a:lnTo>
                <a:lnTo>
                  <a:pt x="924" y="576"/>
                </a:lnTo>
                <a:lnTo>
                  <a:pt x="930" y="588"/>
                </a:lnTo>
                <a:lnTo>
                  <a:pt x="936" y="600"/>
                </a:lnTo>
                <a:lnTo>
                  <a:pt x="942" y="618"/>
                </a:lnTo>
                <a:lnTo>
                  <a:pt x="948" y="624"/>
                </a:lnTo>
                <a:lnTo>
                  <a:pt x="954" y="636"/>
                </a:lnTo>
                <a:lnTo>
                  <a:pt x="954" y="642"/>
                </a:lnTo>
                <a:lnTo>
                  <a:pt x="972" y="672"/>
                </a:lnTo>
                <a:lnTo>
                  <a:pt x="978" y="678"/>
                </a:lnTo>
                <a:lnTo>
                  <a:pt x="984" y="690"/>
                </a:lnTo>
                <a:lnTo>
                  <a:pt x="996" y="714"/>
                </a:lnTo>
                <a:lnTo>
                  <a:pt x="1002" y="726"/>
                </a:lnTo>
                <a:lnTo>
                  <a:pt x="1008" y="726"/>
                </a:lnTo>
                <a:lnTo>
                  <a:pt x="1008" y="738"/>
                </a:lnTo>
                <a:lnTo>
                  <a:pt x="1014" y="744"/>
                </a:lnTo>
                <a:lnTo>
                  <a:pt x="1020" y="756"/>
                </a:lnTo>
                <a:lnTo>
                  <a:pt x="1032" y="780"/>
                </a:lnTo>
                <a:lnTo>
                  <a:pt x="1044" y="792"/>
                </a:lnTo>
                <a:lnTo>
                  <a:pt x="1044" y="798"/>
                </a:lnTo>
                <a:lnTo>
                  <a:pt x="1056" y="816"/>
                </a:lnTo>
                <a:lnTo>
                  <a:pt x="1062" y="822"/>
                </a:lnTo>
                <a:lnTo>
                  <a:pt x="1074" y="828"/>
                </a:lnTo>
                <a:lnTo>
                  <a:pt x="1080" y="834"/>
                </a:lnTo>
                <a:lnTo>
                  <a:pt x="1080" y="840"/>
                </a:lnTo>
                <a:lnTo>
                  <a:pt x="1080" y="846"/>
                </a:lnTo>
                <a:lnTo>
                  <a:pt x="1086" y="846"/>
                </a:lnTo>
                <a:lnTo>
                  <a:pt x="1086" y="852"/>
                </a:lnTo>
                <a:lnTo>
                  <a:pt x="1092" y="852"/>
                </a:lnTo>
                <a:lnTo>
                  <a:pt x="1092" y="858"/>
                </a:lnTo>
                <a:lnTo>
                  <a:pt x="1098" y="858"/>
                </a:lnTo>
                <a:lnTo>
                  <a:pt x="1098" y="864"/>
                </a:lnTo>
                <a:lnTo>
                  <a:pt x="1098" y="858"/>
                </a:lnTo>
                <a:lnTo>
                  <a:pt x="1098" y="864"/>
                </a:lnTo>
                <a:lnTo>
                  <a:pt x="1104" y="864"/>
                </a:lnTo>
                <a:lnTo>
                  <a:pt x="1110" y="864"/>
                </a:lnTo>
                <a:lnTo>
                  <a:pt x="1110" y="870"/>
                </a:lnTo>
                <a:lnTo>
                  <a:pt x="1116" y="870"/>
                </a:lnTo>
                <a:lnTo>
                  <a:pt x="1110" y="870"/>
                </a:lnTo>
                <a:lnTo>
                  <a:pt x="1116" y="876"/>
                </a:lnTo>
                <a:lnTo>
                  <a:pt x="1116" y="882"/>
                </a:lnTo>
                <a:lnTo>
                  <a:pt x="1116" y="888"/>
                </a:lnTo>
                <a:lnTo>
                  <a:pt x="1116" y="894"/>
                </a:lnTo>
                <a:lnTo>
                  <a:pt x="1110" y="894"/>
                </a:lnTo>
                <a:lnTo>
                  <a:pt x="1110" y="900"/>
                </a:lnTo>
                <a:lnTo>
                  <a:pt x="1110" y="906"/>
                </a:lnTo>
                <a:lnTo>
                  <a:pt x="1110" y="912"/>
                </a:lnTo>
                <a:lnTo>
                  <a:pt x="1110" y="918"/>
                </a:lnTo>
                <a:lnTo>
                  <a:pt x="1110" y="912"/>
                </a:lnTo>
                <a:lnTo>
                  <a:pt x="1110" y="918"/>
                </a:lnTo>
                <a:lnTo>
                  <a:pt x="1110" y="924"/>
                </a:lnTo>
                <a:lnTo>
                  <a:pt x="1110" y="930"/>
                </a:lnTo>
                <a:lnTo>
                  <a:pt x="1110" y="936"/>
                </a:lnTo>
                <a:lnTo>
                  <a:pt x="1104" y="936"/>
                </a:lnTo>
                <a:lnTo>
                  <a:pt x="1104" y="942"/>
                </a:lnTo>
                <a:lnTo>
                  <a:pt x="1110" y="942"/>
                </a:lnTo>
                <a:lnTo>
                  <a:pt x="1110" y="948"/>
                </a:lnTo>
                <a:lnTo>
                  <a:pt x="1116" y="948"/>
                </a:lnTo>
                <a:lnTo>
                  <a:pt x="1116" y="954"/>
                </a:lnTo>
                <a:lnTo>
                  <a:pt x="1122" y="954"/>
                </a:lnTo>
                <a:lnTo>
                  <a:pt x="1122" y="960"/>
                </a:lnTo>
                <a:lnTo>
                  <a:pt x="1128" y="960"/>
                </a:lnTo>
                <a:lnTo>
                  <a:pt x="1128" y="966"/>
                </a:lnTo>
                <a:lnTo>
                  <a:pt x="1134" y="966"/>
                </a:lnTo>
                <a:lnTo>
                  <a:pt x="1134" y="972"/>
                </a:lnTo>
                <a:lnTo>
                  <a:pt x="1134" y="978"/>
                </a:lnTo>
                <a:lnTo>
                  <a:pt x="1140" y="978"/>
                </a:lnTo>
                <a:lnTo>
                  <a:pt x="1140" y="984"/>
                </a:lnTo>
                <a:lnTo>
                  <a:pt x="1146" y="990"/>
                </a:lnTo>
                <a:lnTo>
                  <a:pt x="1146" y="996"/>
                </a:lnTo>
                <a:lnTo>
                  <a:pt x="1146" y="1008"/>
                </a:lnTo>
                <a:lnTo>
                  <a:pt x="1152" y="1014"/>
                </a:lnTo>
                <a:lnTo>
                  <a:pt x="1158" y="1026"/>
                </a:lnTo>
                <a:lnTo>
                  <a:pt x="1152" y="1038"/>
                </a:lnTo>
                <a:lnTo>
                  <a:pt x="1146" y="1044"/>
                </a:lnTo>
                <a:lnTo>
                  <a:pt x="1152" y="1056"/>
                </a:lnTo>
                <a:lnTo>
                  <a:pt x="1152" y="1068"/>
                </a:lnTo>
                <a:lnTo>
                  <a:pt x="1152" y="1074"/>
                </a:lnTo>
                <a:lnTo>
                  <a:pt x="1158" y="1074"/>
                </a:lnTo>
                <a:lnTo>
                  <a:pt x="1158" y="1080"/>
                </a:lnTo>
                <a:lnTo>
                  <a:pt x="1164" y="1098"/>
                </a:lnTo>
                <a:lnTo>
                  <a:pt x="1164" y="1116"/>
                </a:lnTo>
                <a:lnTo>
                  <a:pt x="1170" y="1128"/>
                </a:lnTo>
                <a:lnTo>
                  <a:pt x="1176" y="1140"/>
                </a:lnTo>
                <a:lnTo>
                  <a:pt x="1182" y="1152"/>
                </a:lnTo>
                <a:lnTo>
                  <a:pt x="1182" y="1164"/>
                </a:lnTo>
                <a:lnTo>
                  <a:pt x="1188" y="1188"/>
                </a:lnTo>
                <a:lnTo>
                  <a:pt x="1194" y="1218"/>
                </a:lnTo>
                <a:lnTo>
                  <a:pt x="1182" y="1236"/>
                </a:lnTo>
                <a:lnTo>
                  <a:pt x="1176" y="1236"/>
                </a:lnTo>
                <a:lnTo>
                  <a:pt x="1176" y="1248"/>
                </a:lnTo>
                <a:lnTo>
                  <a:pt x="1170" y="1248"/>
                </a:lnTo>
                <a:lnTo>
                  <a:pt x="1164" y="1260"/>
                </a:lnTo>
                <a:lnTo>
                  <a:pt x="1158" y="1260"/>
                </a:lnTo>
                <a:lnTo>
                  <a:pt x="1152" y="1272"/>
                </a:lnTo>
                <a:lnTo>
                  <a:pt x="1146" y="1278"/>
                </a:lnTo>
                <a:lnTo>
                  <a:pt x="1134" y="1296"/>
                </a:lnTo>
                <a:lnTo>
                  <a:pt x="1134" y="1302"/>
                </a:lnTo>
                <a:lnTo>
                  <a:pt x="1128" y="1302"/>
                </a:lnTo>
                <a:lnTo>
                  <a:pt x="1128" y="1308"/>
                </a:lnTo>
                <a:lnTo>
                  <a:pt x="1122" y="1308"/>
                </a:lnTo>
                <a:lnTo>
                  <a:pt x="1122" y="1314"/>
                </a:lnTo>
                <a:lnTo>
                  <a:pt x="1116" y="1314"/>
                </a:lnTo>
                <a:lnTo>
                  <a:pt x="1116" y="1320"/>
                </a:lnTo>
                <a:lnTo>
                  <a:pt x="1110" y="1320"/>
                </a:lnTo>
                <a:lnTo>
                  <a:pt x="1110" y="1314"/>
                </a:lnTo>
                <a:lnTo>
                  <a:pt x="1104" y="1314"/>
                </a:lnTo>
                <a:lnTo>
                  <a:pt x="1098" y="1314"/>
                </a:lnTo>
                <a:lnTo>
                  <a:pt x="1080" y="1320"/>
                </a:lnTo>
                <a:lnTo>
                  <a:pt x="1068" y="1326"/>
                </a:lnTo>
                <a:lnTo>
                  <a:pt x="1056" y="1332"/>
                </a:lnTo>
                <a:lnTo>
                  <a:pt x="1050" y="1338"/>
                </a:lnTo>
                <a:lnTo>
                  <a:pt x="1044" y="1344"/>
                </a:lnTo>
                <a:lnTo>
                  <a:pt x="1032" y="1350"/>
                </a:lnTo>
                <a:lnTo>
                  <a:pt x="1020" y="1362"/>
                </a:lnTo>
                <a:lnTo>
                  <a:pt x="1014" y="1368"/>
                </a:lnTo>
                <a:lnTo>
                  <a:pt x="1008" y="1374"/>
                </a:lnTo>
                <a:lnTo>
                  <a:pt x="996" y="1386"/>
                </a:lnTo>
                <a:lnTo>
                  <a:pt x="996" y="1392"/>
                </a:lnTo>
                <a:lnTo>
                  <a:pt x="990" y="1398"/>
                </a:lnTo>
                <a:lnTo>
                  <a:pt x="984" y="1404"/>
                </a:lnTo>
                <a:lnTo>
                  <a:pt x="978" y="1422"/>
                </a:lnTo>
                <a:lnTo>
                  <a:pt x="966" y="1434"/>
                </a:lnTo>
                <a:lnTo>
                  <a:pt x="960" y="1452"/>
                </a:lnTo>
                <a:lnTo>
                  <a:pt x="960" y="1458"/>
                </a:lnTo>
                <a:lnTo>
                  <a:pt x="954" y="1464"/>
                </a:lnTo>
                <a:lnTo>
                  <a:pt x="948" y="1482"/>
                </a:lnTo>
                <a:lnTo>
                  <a:pt x="942" y="1494"/>
                </a:lnTo>
                <a:lnTo>
                  <a:pt x="942" y="1506"/>
                </a:lnTo>
                <a:lnTo>
                  <a:pt x="936" y="1512"/>
                </a:lnTo>
                <a:lnTo>
                  <a:pt x="936" y="1518"/>
                </a:lnTo>
                <a:lnTo>
                  <a:pt x="930" y="1524"/>
                </a:lnTo>
                <a:lnTo>
                  <a:pt x="918" y="1554"/>
                </a:lnTo>
                <a:lnTo>
                  <a:pt x="918" y="1560"/>
                </a:lnTo>
                <a:lnTo>
                  <a:pt x="912" y="1578"/>
                </a:lnTo>
                <a:lnTo>
                  <a:pt x="906" y="1602"/>
                </a:lnTo>
                <a:lnTo>
                  <a:pt x="900" y="162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07934" y="515937"/>
            <a:ext cx="10722318" cy="984885"/>
          </a:xfrm>
        </p:spPr>
        <p:txBody>
          <a:bodyPr/>
          <a:lstStyle/>
          <a:p>
            <a:r>
              <a:rPr lang="pl-PL" sz="3200" dirty="0"/>
              <a:t>Sprzedaż Ubezpieczeń Korporacyjnych – podział regionalny</a:t>
            </a:r>
            <a:endParaRPr lang="pl-PL" dirty="0"/>
          </a:p>
        </p:txBody>
      </p:sp>
      <p:sp>
        <p:nvSpPr>
          <p:cNvPr id="55" name="Tytuł 1"/>
          <p:cNvSpPr txBox="1">
            <a:spLocks/>
          </p:cNvSpPr>
          <p:nvPr/>
        </p:nvSpPr>
        <p:spPr bwMode="gray">
          <a:xfrm rot="20433810">
            <a:off x="1400391" y="3292451"/>
            <a:ext cx="1072231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8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>
                <a:tab pos="538163" algn="l"/>
              </a:tabLst>
              <a:defRPr lang="x-none" sz="3000" b="1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2pPr>
            <a:lvl3pPr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3pPr>
            <a:lvl4pPr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4pPr>
            <a:lvl5pPr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5pPr>
            <a:lvl6pPr marL="466458"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6pPr>
            <a:lvl7pPr marL="932916"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7pPr>
            <a:lvl8pPr marL="1399373"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8pPr>
            <a:lvl9pPr marL="1865832" algn="l" defTabSz="913481" rtl="0" eaLnBrk="1" fontAlgn="base" hangingPunct="1">
              <a:spcBef>
                <a:spcPct val="0"/>
              </a:spcBef>
              <a:spcAft>
                <a:spcPct val="0"/>
              </a:spcAft>
              <a:defRPr lang="x-none"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3200" kern="0" dirty="0" smtClean="0">
                <a:solidFill>
                  <a:srgbClr val="FF0000"/>
                </a:solidFill>
              </a:rPr>
              <a:t>Aktualna struktura w przygotowaniu </a:t>
            </a:r>
            <a:endParaRPr lang="pl-PL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761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Text2ColorBoldText"/>
  <p:tag name="THINKCELLPRESENTATIONDONOTDELETE" val="&lt;?xml version=&quot;1.0&quot; encoding=&quot;UTF-16&quot; standalone=&quot;yes&quot;?&gt;&lt;root reqver=&quot;24162&quot;&gt;&lt;version val=&quot;27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9.98932016981137671507E+00&quot;&gt;&lt;m_msothmcolidx val=&quot;5&quot;/&gt;&lt;m_nBrightness tagver0=&quot;26206&quot; tagname0=&quot;m_nBrightnessUNRECOGNIZED&quot; val=&quot;0&quot;/&gt;&lt;/elem&gt;&lt;elem m_fUsage=&quot;6.42867018148676663131E-03&quot;&gt;&lt;m_msothmcolidx val=&quot;0&quot;/&gt;&lt;m_rgb r=&quot;09&quot; g=&quot;88&quot; b=&quot;BE&quot;/&gt;&lt;m_nBrightness tagver0=&quot;26206&quot; tagname0=&quot;m_nBrightnessUNRECOGNIZED&quot; val=&quot;0&quot;/&gt;&lt;/elem&gt;&lt;elem m_fUsage=&quot;3.76497825717426624556E-03&quot;&gt;&lt;m_msothmcolidx val=&quot;0&quot;/&gt;&lt;m_rgb r=&quot;7F&quot; g=&quot;7F&quot; b=&quot;7F&quot;/&gt;&lt;m_nBrightness tagver0=&quot;26206&quot; tagname0=&quot;m_nBrightnessUNRECOGNIZED&quot; val=&quot;0&quot;/&gt;&lt;/elem&gt;&lt;elem m_fUsage=&quot;3.91050129963501974170E-04&quot;&gt;&lt;m_msothmcolidx val=&quot;0&quot;/&gt;&lt;m_rgb r=&quot;B5&quot; g=&quot;B5&quot; b=&quot;B5&quot;/&gt;&lt;m_nBrightness tagver0=&quot;26206&quot; tagname0=&quot;m_nBrightnessUNRECOGNIZED&quot; val=&quot;0&quot;/&gt;&lt;/elem&gt;&lt;elem m_fUsage=&quot;5.40618856955994250726E-05&quot;&gt;&lt;m_msothmcolidx val=&quot;0&quot;/&gt;&lt;m_rgb r=&quot;CF&quot; g=&quot;CF&quot; b=&quot;CF&quot;/&gt;&lt;m_nBrightness tagver0=&quot;26206&quot; tagname0=&quot;m_nBrightnessUNRECOGNIZED&quot; val=&quot;0&quot;/&gt;&lt;/elem&gt;&lt;elem m_fUsage=&quot;2.71688890675885094640E-05&quot;&gt;&lt;m_msothmcolidx val=&quot;0&quot;/&gt;&lt;m_rgb r=&quot;FF&quot; g=&quot;FF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Franciszek Kryt\Box Sync\2019 AZPL Growth aspiration - SHARED with AZPL\08. Client meetings\AZPL Growth-Workshop-SENT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gFlkvYSXaUrOtyQcLN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GyJ1LmRMWDBYAx5OXK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5Pa1GzRW6yV0o5tyYM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h3mFOXSCamz15eGnzS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YbO.vTDGFOInYMD57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JVXEZaQHGbI04GggBD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heme/theme1.xml><?xml version="1.0" encoding="utf-8"?>
<a:theme xmlns:a="http://schemas.openxmlformats.org/drawingml/2006/main" name="3_EN_AVG865_CF2">
  <a:themeElements>
    <a:clrScheme name="Custom">
      <a:dk1>
        <a:srgbClr val="000000"/>
      </a:dk1>
      <a:lt1>
        <a:srgbClr val="FFFFFF"/>
      </a:lt1>
      <a:dk2>
        <a:srgbClr val="49648C"/>
      </a:dk2>
      <a:lt2>
        <a:srgbClr val="D4CDCD"/>
      </a:lt2>
      <a:accent1>
        <a:srgbClr val="96DCFA"/>
      </a:accent1>
      <a:accent2>
        <a:srgbClr val="CCDD61"/>
      </a:accent2>
      <a:accent3>
        <a:srgbClr val="EECCD5"/>
      </a:accent3>
      <a:accent4>
        <a:srgbClr val="FDD25C"/>
      </a:accent4>
      <a:accent5>
        <a:srgbClr val="FF934F"/>
      </a:accent5>
      <a:accent6>
        <a:srgbClr val="C0DDBD"/>
      </a:accent6>
      <a:hlink>
        <a:srgbClr val="003781"/>
      </a:hlink>
      <a:folHlink>
        <a:srgbClr val="5A398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noFill/>
        </a:ln>
      </a:spPr>
      <a:bodyPr rtlCol="0" anchor="ctr">
        <a:noAutofit/>
      </a:bodyPr>
      <a:lstStyle>
        <a:defPPr algn="ctr" eaLnBrk="1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49648C"/>
        </a:dk2>
        <a:lt2>
          <a:srgbClr val="D4CDCD"/>
        </a:lt2>
        <a:accent1>
          <a:srgbClr val="96DCFA"/>
        </a:accent1>
        <a:accent2>
          <a:srgbClr val="CCDD61"/>
        </a:accent2>
        <a:accent3>
          <a:srgbClr val="EECCD5"/>
        </a:accent3>
        <a:accent4>
          <a:srgbClr val="FDD25C"/>
        </a:accent4>
        <a:accent5>
          <a:srgbClr val="FF934F"/>
        </a:accent5>
        <a:accent6>
          <a:srgbClr val="C0DDBD"/>
        </a:accent6>
        <a:hlink>
          <a:srgbClr val="003781"/>
        </a:hlink>
        <a:folHlink>
          <a:srgbClr val="5A398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rgb(232,232,232)">
      <a:srgbClr val="E8E8E8"/>
    </a:custClr>
    <a:custClr name="rgb(0,55,129)">
      <a:srgbClr val="003781"/>
    </a:custClr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EN_AVG833_CF0.potx" id="{910158FE-7A20-4BB6-93AB-186A676EDB44}" vid="{FC6885E2-C799-4717-86C3-A510914CFA6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50</TotalTime>
  <Words>11</Words>
  <Application>Microsoft Office PowerPoint</Application>
  <PresentationFormat>Niestandardowy</PresentationFormat>
  <Paragraphs>3</Paragraphs>
  <Slides>1</Slides>
  <Notes>1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Wingdings</vt:lpstr>
      <vt:lpstr>3_EN_AVG865_CF2</vt:lpstr>
      <vt:lpstr>think-cell Slide</vt:lpstr>
      <vt:lpstr>Sprzedaż Ubezpieczeń Korporacyjnych – podział regionaln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priorities for AZPL in 2019</dc:title>
  <dc:creator>Oskar Sokolinski</dc:creator>
  <cp:lastModifiedBy>Komaradzka Alina</cp:lastModifiedBy>
  <cp:revision>2553</cp:revision>
  <cp:lastPrinted>2019-02-13T22:28:00Z</cp:lastPrinted>
  <dcterms:created xsi:type="dcterms:W3CDTF">2019-01-11T15:53:33Z</dcterms:created>
  <dcterms:modified xsi:type="dcterms:W3CDTF">2022-06-30T10:22:26Z</dcterms:modified>
</cp:coreProperties>
</file>